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drawings/drawing2.xml" ContentType="application/vnd.openxmlformats-officedocument.drawingml.chartshape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4" r:id="rId2"/>
  </p:sldMasterIdLst>
  <p:notesMasterIdLst>
    <p:notesMasterId r:id="rId36"/>
  </p:notesMasterIdLst>
  <p:handoutMasterIdLst>
    <p:handoutMasterId r:id="rId37"/>
  </p:handoutMasterIdLst>
  <p:sldIdLst>
    <p:sldId id="256" r:id="rId3"/>
    <p:sldId id="274" r:id="rId4"/>
    <p:sldId id="275" r:id="rId5"/>
    <p:sldId id="258" r:id="rId6"/>
    <p:sldId id="259" r:id="rId7"/>
    <p:sldId id="260" r:id="rId8"/>
    <p:sldId id="279" r:id="rId9"/>
    <p:sldId id="280" r:id="rId10"/>
    <p:sldId id="281" r:id="rId11"/>
    <p:sldId id="282" r:id="rId12"/>
    <p:sldId id="283" r:id="rId13"/>
    <p:sldId id="285" r:id="rId14"/>
    <p:sldId id="286" r:id="rId15"/>
    <p:sldId id="284" r:id="rId16"/>
    <p:sldId id="287" r:id="rId17"/>
    <p:sldId id="288" r:id="rId18"/>
    <p:sldId id="289" r:id="rId19"/>
    <p:sldId id="290" r:id="rId20"/>
    <p:sldId id="291" r:id="rId21"/>
    <p:sldId id="292" r:id="rId22"/>
    <p:sldId id="293" r:id="rId23"/>
    <p:sldId id="294" r:id="rId24"/>
    <p:sldId id="276" r:id="rId25"/>
    <p:sldId id="295" r:id="rId26"/>
    <p:sldId id="296" r:id="rId27"/>
    <p:sldId id="297" r:id="rId28"/>
    <p:sldId id="298" r:id="rId29"/>
    <p:sldId id="301" r:id="rId30"/>
    <p:sldId id="299" r:id="rId31"/>
    <p:sldId id="300" r:id="rId32"/>
    <p:sldId id="277" r:id="rId33"/>
    <p:sldId id="278" r:id="rId34"/>
    <p:sldId id="266" r:id="rId35"/>
  </p:sldIdLst>
  <p:sldSz cx="12192000" cy="6858000"/>
  <p:notesSz cx="6858000" cy="9144000"/>
  <p:custDataLst>
    <p:tags r:id="rId3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4290F808-194C-471F-9E68-7B40DCE7A650}">
          <p14:sldIdLst>
            <p14:sldId id="256"/>
            <p14:sldId id="274"/>
            <p14:sldId id="275"/>
          </p14:sldIdLst>
        </p14:section>
        <p14:section name="MetaCacheDatabase und BigFunnel" id="{81D88599-6940-49BB-ACFA-1E601D319504}">
          <p14:sldIdLst>
            <p14:sldId id="258"/>
            <p14:sldId id="259"/>
            <p14:sldId id="260"/>
            <p14:sldId id="279"/>
            <p14:sldId id="280"/>
            <p14:sldId id="281"/>
            <p14:sldId id="282"/>
            <p14:sldId id="283"/>
            <p14:sldId id="285"/>
            <p14:sldId id="286"/>
            <p14:sldId id="284"/>
            <p14:sldId id="287"/>
            <p14:sldId id="288"/>
            <p14:sldId id="289"/>
            <p14:sldId id="290"/>
            <p14:sldId id="291"/>
            <p14:sldId id="292"/>
            <p14:sldId id="293"/>
            <p14:sldId id="294"/>
          </p14:sldIdLst>
        </p14:section>
        <p14:section name="MIgration zu Exchange Server 2019" id="{54E8EB55-9DEE-42FE-9420-7455DBB10AA0}">
          <p14:sldIdLst>
            <p14:sldId id="276"/>
            <p14:sldId id="295"/>
            <p14:sldId id="296"/>
            <p14:sldId id="297"/>
            <p14:sldId id="298"/>
            <p14:sldId id="301"/>
            <p14:sldId id="299"/>
            <p14:sldId id="300"/>
            <p14:sldId id="277"/>
            <p14:sldId id="278"/>
          </p14:sldIdLst>
        </p14:section>
        <p14:section name="Backup" id="{ECD1328B-4012-4705-9E18-8FD4D529D8D4}">
          <p14:sldIdLst>
            <p14:sldId id="266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6E14ABF-FC4C-4B98-B2A4-DF762ED946F2}" v="141" dt="2019-04-02T20:19:42.668"/>
  </p1510:revLst>
</p1510:revInfo>
</file>

<file path=ppt/tableStyles.xml><?xml version="1.0" encoding="utf-8"?>
<a:tblStyleLst xmlns:a="http://schemas.openxmlformats.org/drawingml/2006/main" def="{5C22544A-7EE6-4342-B048-85BDC9FD1C3A}">
  <a:tblStyle styleId="{8FD4443E-F989-4FC4-A0C8-D5A2AF1F390B}" styleName="Dunkle Formatvorlage 1 - Akz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80" autoAdjust="0"/>
    <p:restoredTop sz="81778" autoAdjust="0"/>
  </p:normalViewPr>
  <p:slideViewPr>
    <p:cSldViewPr snapToGrid="0">
      <p:cViewPr varScale="1">
        <p:scale>
          <a:sx n="75" d="100"/>
          <a:sy n="75" d="100"/>
        </p:scale>
        <p:origin x="90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04" d="100"/>
          <a:sy n="104" d="100"/>
        </p:scale>
        <p:origin x="3480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handoutMaster" Target="handoutMasters/handoutMaster1.xml"/><Relationship Id="rId40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microsoft.com/office/2015/10/relationships/revisionInfo" Target="revisionInfo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omas Stensitzki" userId="75cafe6b-2f2a-469b-85c4-eec3b9c972ba" providerId="ADAL" clId="{D2B74E2C-E95A-4225-AE58-CEE84E12AFBD}"/>
  </pc:docChgLst>
  <pc:docChgLst>
    <pc:chgData name="Thomas Stensitzki" userId="75cafe6b-2f2a-469b-85c4-eec3b9c972ba" providerId="ADAL" clId="{89122B98-9651-420B-B2E9-C6A699A1FEB3}"/>
  </pc:docChgLst>
  <pc:docChgLst>
    <pc:chgData name="Thomas Stensitzki" userId="75cafe6b-2f2a-469b-85c4-eec3b9c972ba" providerId="ADAL" clId="{C1070512-73C6-4B84-8C73-531CBC16FA46}"/>
  </pc:docChgLst>
  <pc:docChgLst>
    <pc:chgData name="Thomas Stensitzki" userId="75cafe6b-2f2a-469b-85c4-eec3b9c972ba" providerId="ADAL" clId="{A3D4B8CC-F8BB-472A-AC95-FB3E3D3604C4}"/>
  </pc:docChgLst>
  <pc:docChgLst>
    <pc:chgData name="Thomas Stensitzki" userId="75cafe6b-2f2a-469b-85c4-eec3b9c972ba" providerId="ADAL" clId="{06E14ABF-FC4C-4B98-B2A4-DF762ED946F2}"/>
    <pc:docChg chg="undo custSel mod addSld delSld modSld sldOrd delSection modSection">
      <pc:chgData name="Thomas Stensitzki" userId="75cafe6b-2f2a-469b-85c4-eec3b9c972ba" providerId="ADAL" clId="{06E14ABF-FC4C-4B98-B2A4-DF762ED946F2}" dt="2019-04-03T17:24:54.400" v="6024" actId="6549"/>
      <pc:docMkLst>
        <pc:docMk/>
      </pc:docMkLst>
      <pc:sldChg chg="modSp modTransition modNotes">
        <pc:chgData name="Thomas Stensitzki" userId="75cafe6b-2f2a-469b-85c4-eec3b9c972ba" providerId="ADAL" clId="{06E14ABF-FC4C-4B98-B2A4-DF762ED946F2}" dt="2019-04-03T14:44:25.168" v="6015" actId="113"/>
        <pc:sldMkLst>
          <pc:docMk/>
          <pc:sldMk cId="353304963" sldId="256"/>
        </pc:sldMkLst>
        <pc:spChg chg="mod">
          <ac:chgData name="Thomas Stensitzki" userId="75cafe6b-2f2a-469b-85c4-eec3b9c972ba" providerId="ADAL" clId="{06E14ABF-FC4C-4B98-B2A4-DF762ED946F2}" dt="2019-04-03T14:44:25.168" v="6015" actId="113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898" v="940" actId="790"/>
          <ac:spMkLst>
            <pc:docMk/>
            <pc:sldMk cId="353304963" sldId="256"/>
            <ac:spMk id="3" creationId="{00000000-0000-0000-0000-000000000000}"/>
          </ac:spMkLst>
        </pc:spChg>
      </pc:sldChg>
      <pc:sldChg chg="addSp modSp ord modTransition modNotes">
        <pc:chgData name="Thomas Stensitzki" userId="75cafe6b-2f2a-469b-85c4-eec3b9c972ba" providerId="ADAL" clId="{06E14ABF-FC4C-4B98-B2A4-DF762ED946F2}" dt="2019-04-02T17:26:04.950" v="956" actId="790"/>
        <pc:sldMkLst>
          <pc:docMk/>
          <pc:sldMk cId="3986585176" sldId="258"/>
        </pc:sldMkLst>
        <pc:spChg chg="mod">
          <ac:chgData name="Thomas Stensitzki" userId="75cafe6b-2f2a-469b-85c4-eec3b9c972ba" providerId="ADAL" clId="{06E14ABF-FC4C-4B98-B2A4-DF762ED946F2}" dt="2019-04-02T17:26:04.937" v="952" actId="790"/>
          <ac:spMkLst>
            <pc:docMk/>
            <pc:sldMk cId="3986585176" sldId="258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41" v="953" actId="790"/>
          <ac:spMkLst>
            <pc:docMk/>
            <pc:sldMk cId="3986585176" sldId="258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45" v="954" actId="790"/>
          <ac:spMkLst>
            <pc:docMk/>
            <pc:sldMk cId="3986585176" sldId="258"/>
            <ac:spMk id="4" creationId="{00000000-0000-0000-0000-000000000000}"/>
          </ac:spMkLst>
        </pc:spChg>
        <pc:picChg chg="add mod">
          <ac:chgData name="Thomas Stensitzki" userId="75cafe6b-2f2a-469b-85c4-eec3b9c972ba" providerId="ADAL" clId="{06E14ABF-FC4C-4B98-B2A4-DF762ED946F2}" dt="2019-03-31T15:17:10.753" v="693" actId="1076"/>
          <ac:picMkLst>
            <pc:docMk/>
            <pc:sldMk cId="3986585176" sldId="258"/>
            <ac:picMk id="7" creationId="{88F97777-565E-4AA3-9103-8EB7EB31F749}"/>
          </ac:picMkLst>
        </pc:picChg>
      </pc:sldChg>
      <pc:sldChg chg="modSp modTransition modNotes">
        <pc:chgData name="Thomas Stensitzki" userId="75cafe6b-2f2a-469b-85c4-eec3b9c972ba" providerId="ADAL" clId="{06E14ABF-FC4C-4B98-B2A4-DF762ED946F2}" dt="2019-04-02T17:26:04.961" v="960" actId="790"/>
        <pc:sldMkLst>
          <pc:docMk/>
          <pc:sldMk cId="577492687" sldId="259"/>
        </pc:sldMkLst>
        <pc:spChg chg="mod">
          <ac:chgData name="Thomas Stensitzki" userId="75cafe6b-2f2a-469b-85c4-eec3b9c972ba" providerId="ADAL" clId="{06E14ABF-FC4C-4B98-B2A4-DF762ED946F2}" dt="2019-04-02T17:26:04.952" v="957" actId="790"/>
          <ac:spMkLst>
            <pc:docMk/>
            <pc:sldMk cId="577492687" sldId="259"/>
            <ac:spMk id="5" creationId="{8DFF3C50-4326-4090-9563-39166FAE160D}"/>
          </ac:spMkLst>
        </pc:spChg>
        <pc:spChg chg="mod">
          <ac:chgData name="Thomas Stensitzki" userId="75cafe6b-2f2a-469b-85c4-eec3b9c972ba" providerId="ADAL" clId="{06E14ABF-FC4C-4B98-B2A4-DF762ED946F2}" dt="2019-04-02T17:26:04.955" v="958" actId="790"/>
          <ac:spMkLst>
            <pc:docMk/>
            <pc:sldMk cId="577492687" sldId="259"/>
            <ac:spMk id="6" creationId="{9D5FCE5E-BE6E-4AAA-BFE2-CADDE02D473C}"/>
          </ac:spMkLst>
        </pc:spChg>
      </pc:sldChg>
      <pc:sldChg chg="addSp delSp modSp mod modTransition setBg delAnim modAnim modNotes modNotesTx">
        <pc:chgData name="Thomas Stensitzki" userId="75cafe6b-2f2a-469b-85c4-eec3b9c972ba" providerId="ADAL" clId="{06E14ABF-FC4C-4B98-B2A4-DF762ED946F2}" dt="2019-04-02T17:26:04.983" v="968" actId="790"/>
        <pc:sldMkLst>
          <pc:docMk/>
          <pc:sldMk cId="3322716105" sldId="260"/>
        </pc:sldMkLst>
        <pc:spChg chg="add del mod">
          <ac:chgData name="Thomas Stensitzki" userId="75cafe6b-2f2a-469b-85c4-eec3b9c972ba" providerId="ADAL" clId="{06E14ABF-FC4C-4B98-B2A4-DF762ED946F2}" dt="2019-03-31T14:55:42.603" v="135" actId="478"/>
          <ac:spMkLst>
            <pc:docMk/>
            <pc:sldMk cId="3322716105" sldId="260"/>
            <ac:spMk id="3" creationId="{E8127EFB-877F-4629-958D-C6EC06AC0B2F}"/>
          </ac:spMkLst>
        </pc:spChg>
        <pc:spChg chg="mod">
          <ac:chgData name="Thomas Stensitzki" userId="75cafe6b-2f2a-469b-85c4-eec3b9c972ba" providerId="ADAL" clId="{06E14ABF-FC4C-4B98-B2A4-DF762ED946F2}" dt="2019-04-02T17:26:04.965" v="961" actId="790"/>
          <ac:spMkLst>
            <pc:docMk/>
            <pc:sldMk cId="3322716105" sldId="260"/>
            <ac:spMk id="4" creationId="{68CFF749-310B-4209-A6F9-A841F771F5E9}"/>
          </ac:spMkLst>
        </pc:spChg>
        <pc:spChg chg="del">
          <ac:chgData name="Thomas Stensitzki" userId="75cafe6b-2f2a-469b-85c4-eec3b9c972ba" providerId="ADAL" clId="{06E14ABF-FC4C-4B98-B2A4-DF762ED946F2}" dt="2019-03-31T14:55:38.999" v="134" actId="478"/>
          <ac:spMkLst>
            <pc:docMk/>
            <pc:sldMk cId="3322716105" sldId="260"/>
            <ac:spMk id="5" creationId="{91CFE9EE-8010-410B-A3CD-FA8CCE75090D}"/>
          </ac:spMkLst>
        </pc:spChg>
        <pc:spChg chg="mod">
          <ac:chgData name="Thomas Stensitzki" userId="75cafe6b-2f2a-469b-85c4-eec3b9c972ba" providerId="ADAL" clId="{06E14ABF-FC4C-4B98-B2A4-DF762ED946F2}" dt="2019-04-02T17:26:04.967" v="962" actId="790"/>
          <ac:spMkLst>
            <pc:docMk/>
            <pc:sldMk cId="3322716105" sldId="260"/>
            <ac:spMk id="6" creationId="{3E77F062-0B41-463B-AC26-65F223DBB915}"/>
          </ac:spMkLst>
        </pc:spChg>
        <pc:spChg chg="add mod">
          <ac:chgData name="Thomas Stensitzki" userId="75cafe6b-2f2a-469b-85c4-eec3b9c972ba" providerId="ADAL" clId="{06E14ABF-FC4C-4B98-B2A4-DF762ED946F2}" dt="2019-04-02T17:26:04.970" v="963" actId="790"/>
          <ac:spMkLst>
            <pc:docMk/>
            <pc:sldMk cId="3322716105" sldId="260"/>
            <ac:spMk id="11" creationId="{53043CD2-092C-4757-956D-63E65546076E}"/>
          </ac:spMkLst>
        </pc:spChg>
        <pc:spChg chg="add del">
          <ac:chgData name="Thomas Stensitzki" userId="75cafe6b-2f2a-469b-85c4-eec3b9c972ba" providerId="ADAL" clId="{06E14ABF-FC4C-4B98-B2A4-DF762ED946F2}" dt="2019-03-31T14:57:15.965" v="138" actId="26606"/>
          <ac:spMkLst>
            <pc:docMk/>
            <pc:sldMk cId="3322716105" sldId="260"/>
            <ac:spMk id="12" creationId="{59A309A7-1751-4ABE-A3C1-EEC40366AD89}"/>
          </ac:spMkLst>
        </pc:spChg>
        <pc:spChg chg="add del">
          <ac:chgData name="Thomas Stensitzki" userId="75cafe6b-2f2a-469b-85c4-eec3b9c972ba" providerId="ADAL" clId="{06E14ABF-FC4C-4B98-B2A4-DF762ED946F2}" dt="2019-03-31T14:57:15.965" v="138" actId="26606"/>
          <ac:spMkLst>
            <pc:docMk/>
            <pc:sldMk cId="3322716105" sldId="260"/>
            <ac:spMk id="14" creationId="{967D8EB6-EAE1-4F9C-B398-83321E287204}"/>
          </ac:spMkLst>
        </pc:spChg>
        <pc:spChg chg="add mod">
          <ac:chgData name="Thomas Stensitzki" userId="75cafe6b-2f2a-469b-85c4-eec3b9c972ba" providerId="ADAL" clId="{06E14ABF-FC4C-4B98-B2A4-DF762ED946F2}" dt="2019-04-02T17:26:04.973" v="964" actId="790"/>
          <ac:spMkLst>
            <pc:docMk/>
            <pc:sldMk cId="3322716105" sldId="260"/>
            <ac:spMk id="15" creationId="{4665514F-A859-487A-9838-ECEB03F42132}"/>
          </ac:spMkLst>
        </pc:spChg>
        <pc:spChg chg="add mod">
          <ac:chgData name="Thomas Stensitzki" userId="75cafe6b-2f2a-469b-85c4-eec3b9c972ba" providerId="ADAL" clId="{06E14ABF-FC4C-4B98-B2A4-DF762ED946F2}" dt="2019-04-02T17:26:04.975" v="965" actId="790"/>
          <ac:spMkLst>
            <pc:docMk/>
            <pc:sldMk cId="3322716105" sldId="260"/>
            <ac:spMk id="16" creationId="{1BB8EF91-5E62-4B4F-A844-931B2A6A2545}"/>
          </ac:spMkLst>
        </pc:spChg>
        <pc:spChg chg="add mod">
          <ac:chgData name="Thomas Stensitzki" userId="75cafe6b-2f2a-469b-85c4-eec3b9c972ba" providerId="ADAL" clId="{06E14ABF-FC4C-4B98-B2A4-DF762ED946F2}" dt="2019-04-02T17:26:04.977" v="966" actId="790"/>
          <ac:spMkLst>
            <pc:docMk/>
            <pc:sldMk cId="3322716105" sldId="260"/>
            <ac:spMk id="17" creationId="{AC2D8443-81D2-4106-BE97-18FEAA33AD7F}"/>
          </ac:spMkLst>
        </pc:spChg>
        <pc:grpChg chg="add mod">
          <ac:chgData name="Thomas Stensitzki" userId="75cafe6b-2f2a-469b-85c4-eec3b9c972ba" providerId="ADAL" clId="{06E14ABF-FC4C-4B98-B2A4-DF762ED946F2}" dt="2019-03-31T15:08:34.753" v="684" actId="164"/>
          <ac:grpSpMkLst>
            <pc:docMk/>
            <pc:sldMk cId="3322716105" sldId="260"/>
            <ac:grpSpMk id="13" creationId="{54B3A9E3-430E-47A2-9331-76F5EE858C54}"/>
          </ac:grpSpMkLst>
        </pc:grpChg>
        <pc:grpChg chg="add mod">
          <ac:chgData name="Thomas Stensitzki" userId="75cafe6b-2f2a-469b-85c4-eec3b9c972ba" providerId="ADAL" clId="{06E14ABF-FC4C-4B98-B2A4-DF762ED946F2}" dt="2019-03-31T15:08:38.195" v="685" actId="164"/>
          <ac:grpSpMkLst>
            <pc:docMk/>
            <pc:sldMk cId="3322716105" sldId="260"/>
            <ac:grpSpMk id="18" creationId="{3071B602-7EF3-4988-A30D-D61CB1A15148}"/>
          </ac:grpSpMkLst>
        </pc:grpChg>
        <pc:grpChg chg="add mod">
          <ac:chgData name="Thomas Stensitzki" userId="75cafe6b-2f2a-469b-85c4-eec3b9c972ba" providerId="ADAL" clId="{06E14ABF-FC4C-4B98-B2A4-DF762ED946F2}" dt="2019-03-31T15:08:42.651" v="686" actId="164"/>
          <ac:grpSpMkLst>
            <pc:docMk/>
            <pc:sldMk cId="3322716105" sldId="260"/>
            <ac:grpSpMk id="19" creationId="{343D7AD8-4214-48D5-82D2-3B81FA0CDA83}"/>
          </ac:grpSpMkLst>
        </pc:grpChg>
        <pc:grpChg chg="add mod">
          <ac:chgData name="Thomas Stensitzki" userId="75cafe6b-2f2a-469b-85c4-eec3b9c972ba" providerId="ADAL" clId="{06E14ABF-FC4C-4B98-B2A4-DF762ED946F2}" dt="2019-03-31T15:08:45.724" v="687" actId="164"/>
          <ac:grpSpMkLst>
            <pc:docMk/>
            <pc:sldMk cId="3322716105" sldId="260"/>
            <ac:grpSpMk id="20" creationId="{75D3FE8D-A729-4466-82F3-3D4EE6E36811}"/>
          </ac:grpSpMkLst>
        </pc:grpChg>
        <pc:picChg chg="add mod">
          <ac:chgData name="Thomas Stensitzki" userId="75cafe6b-2f2a-469b-85c4-eec3b9c972ba" providerId="ADAL" clId="{06E14ABF-FC4C-4B98-B2A4-DF762ED946F2}" dt="2019-03-31T15:08:34.753" v="684" actId="164"/>
          <ac:picMkLst>
            <pc:docMk/>
            <pc:sldMk cId="3322716105" sldId="260"/>
            <ac:picMk id="7" creationId="{AFAB17B4-580C-437A-9A55-97AE734641EE}"/>
          </ac:picMkLst>
        </pc:picChg>
        <pc:picChg chg="add mod">
          <ac:chgData name="Thomas Stensitzki" userId="75cafe6b-2f2a-469b-85c4-eec3b9c972ba" providerId="ADAL" clId="{06E14ABF-FC4C-4B98-B2A4-DF762ED946F2}" dt="2019-03-31T15:08:38.195" v="685" actId="164"/>
          <ac:picMkLst>
            <pc:docMk/>
            <pc:sldMk cId="3322716105" sldId="260"/>
            <ac:picMk id="8" creationId="{5466727C-60B1-433E-B75C-099D400A4ECF}"/>
          </ac:picMkLst>
        </pc:picChg>
        <pc:picChg chg="add mod">
          <ac:chgData name="Thomas Stensitzki" userId="75cafe6b-2f2a-469b-85c4-eec3b9c972ba" providerId="ADAL" clId="{06E14ABF-FC4C-4B98-B2A4-DF762ED946F2}" dt="2019-03-31T15:08:42.651" v="686" actId="164"/>
          <ac:picMkLst>
            <pc:docMk/>
            <pc:sldMk cId="3322716105" sldId="260"/>
            <ac:picMk id="9" creationId="{76449023-59A2-4F42-9FF8-B016F0AEFFDB}"/>
          </ac:picMkLst>
        </pc:picChg>
        <pc:picChg chg="add mod">
          <ac:chgData name="Thomas Stensitzki" userId="75cafe6b-2f2a-469b-85c4-eec3b9c972ba" providerId="ADAL" clId="{06E14ABF-FC4C-4B98-B2A4-DF762ED946F2}" dt="2019-03-31T15:08:45.724" v="687" actId="164"/>
          <ac:picMkLst>
            <pc:docMk/>
            <pc:sldMk cId="3322716105" sldId="260"/>
            <ac:picMk id="10" creationId="{8E8A5F47-CBCF-490D-974C-A55468F933B9}"/>
          </ac:picMkLst>
        </pc:picChg>
      </pc:sldChg>
      <pc:sldChg chg="modSp modTransition modNotes">
        <pc:chgData name="Thomas Stensitzki" userId="75cafe6b-2f2a-469b-85c4-eec3b9c972ba" providerId="ADAL" clId="{06E14ABF-FC4C-4B98-B2A4-DF762ED946F2}" dt="2019-04-02T17:26:05.666" v="1226" actId="790"/>
        <pc:sldMkLst>
          <pc:docMk/>
          <pc:sldMk cId="1248369839" sldId="266"/>
        </pc:sldMkLst>
        <pc:spChg chg="mod">
          <ac:chgData name="Thomas Stensitzki" userId="75cafe6b-2f2a-469b-85c4-eec3b9c972ba" providerId="ADAL" clId="{06E14ABF-FC4C-4B98-B2A4-DF762ED946F2}" dt="2019-04-02T17:26:05.656" v="1222" actId="790"/>
          <ac:spMkLst>
            <pc:docMk/>
            <pc:sldMk cId="1248369839" sldId="266"/>
            <ac:spMk id="2" creationId="{34D916E7-766B-4E0B-9454-B7F1ADAB02D4}"/>
          </ac:spMkLst>
        </pc:spChg>
        <pc:spChg chg="mod">
          <ac:chgData name="Thomas Stensitzki" userId="75cafe6b-2f2a-469b-85c4-eec3b9c972ba" providerId="ADAL" clId="{06E14ABF-FC4C-4B98-B2A4-DF762ED946F2}" dt="2019-04-02T17:26:05.658" v="1223" actId="790"/>
          <ac:spMkLst>
            <pc:docMk/>
            <pc:sldMk cId="1248369839" sldId="266"/>
            <ac:spMk id="6" creationId="{655AA805-1CE0-400B-A070-A09DAF42527F}"/>
          </ac:spMkLst>
        </pc:spChg>
        <pc:spChg chg="mod">
          <ac:chgData name="Thomas Stensitzki" userId="75cafe6b-2f2a-469b-85c4-eec3b9c972ba" providerId="ADAL" clId="{06E14ABF-FC4C-4B98-B2A4-DF762ED946F2}" dt="2019-04-02T17:26:05.660" v="1224" actId="790"/>
          <ac:spMkLst>
            <pc:docMk/>
            <pc:sldMk cId="1248369839" sldId="266"/>
            <ac:spMk id="7" creationId="{F4D1189F-A3C3-4333-B4C3-9ACDF0638573}"/>
          </ac:spMkLst>
        </pc:spChg>
      </pc:sldChg>
      <pc:sldChg chg="addSp delSp modSp add modTransition modNotes">
        <pc:chgData name="Thomas Stensitzki" userId="75cafe6b-2f2a-469b-85c4-eec3b9c972ba" providerId="ADAL" clId="{06E14ABF-FC4C-4B98-B2A4-DF762ED946F2}" dt="2019-04-02T17:26:04.916" v="946" actId="790"/>
        <pc:sldMkLst>
          <pc:docMk/>
          <pc:sldMk cId="28132323" sldId="274"/>
        </pc:sldMkLst>
        <pc:spChg chg="mod">
          <ac:chgData name="Thomas Stensitzki" userId="75cafe6b-2f2a-469b-85c4-eec3b9c972ba" providerId="ADAL" clId="{06E14ABF-FC4C-4B98-B2A4-DF762ED946F2}" dt="2019-04-02T17:26:04.907" v="943" actId="790"/>
          <ac:spMkLst>
            <pc:docMk/>
            <pc:sldMk cId="28132323" sldId="274"/>
            <ac:spMk id="2" creationId="{8A16B391-36DA-4FD3-95E3-C45E98AE4755}"/>
          </ac:spMkLst>
        </pc:spChg>
        <pc:spChg chg="del">
          <ac:chgData name="Thomas Stensitzki" userId="75cafe6b-2f2a-469b-85c4-eec3b9c972ba" providerId="ADAL" clId="{06E14ABF-FC4C-4B98-B2A4-DF762ED946F2}" dt="2019-03-29T13:02:07.056" v="45" actId="478"/>
          <ac:spMkLst>
            <pc:docMk/>
            <pc:sldMk cId="28132323" sldId="274"/>
            <ac:spMk id="3" creationId="{A729CAED-E5F8-4A59-B9C1-189CD475D29F}"/>
          </ac:spMkLst>
        </pc:spChg>
        <pc:spChg chg="mod">
          <ac:chgData name="Thomas Stensitzki" userId="75cafe6b-2f2a-469b-85c4-eec3b9c972ba" providerId="ADAL" clId="{06E14ABF-FC4C-4B98-B2A4-DF762ED946F2}" dt="2019-04-02T17:26:04.909" v="944" actId="790"/>
          <ac:spMkLst>
            <pc:docMk/>
            <pc:sldMk cId="28132323" sldId="274"/>
            <ac:spMk id="4" creationId="{3CDC1E90-4388-4F8B-B1DC-2DC6C03548A2}"/>
          </ac:spMkLst>
        </pc:spChg>
        <pc:picChg chg="add mod">
          <ac:chgData name="Thomas Stensitzki" userId="75cafe6b-2f2a-469b-85c4-eec3b9c972ba" providerId="ADAL" clId="{06E14ABF-FC4C-4B98-B2A4-DF762ED946F2}" dt="2019-03-29T13:02:35.972" v="49" actId="12788"/>
          <ac:picMkLst>
            <pc:docMk/>
            <pc:sldMk cId="28132323" sldId="274"/>
            <ac:picMk id="5" creationId="{126BC707-0610-47CC-A6BE-C945356FD3D8}"/>
          </ac:picMkLst>
        </pc:picChg>
      </pc:sldChg>
      <pc:sldChg chg="modSp add modTransition modNotes">
        <pc:chgData name="Thomas Stensitzki" userId="75cafe6b-2f2a-469b-85c4-eec3b9c972ba" providerId="ADAL" clId="{06E14ABF-FC4C-4B98-B2A4-DF762ED946F2}" dt="2019-04-02T17:26:04.933" v="951" actId="790"/>
        <pc:sldMkLst>
          <pc:docMk/>
          <pc:sldMk cId="1868214746" sldId="275"/>
        </pc:sldMkLst>
        <pc:spChg chg="mod">
          <ac:chgData name="Thomas Stensitzki" userId="75cafe6b-2f2a-469b-85c4-eec3b9c972ba" providerId="ADAL" clId="{06E14ABF-FC4C-4B98-B2A4-DF762ED946F2}" dt="2019-04-02T17:26:04.917" v="947" actId="790"/>
          <ac:spMkLst>
            <pc:docMk/>
            <pc:sldMk cId="1868214746" sldId="275"/>
            <ac:spMk id="2" creationId="{7B61AEE5-2048-412D-9310-CB7BD44DAF4A}"/>
          </ac:spMkLst>
        </pc:spChg>
        <pc:spChg chg="mod">
          <ac:chgData name="Thomas Stensitzki" userId="75cafe6b-2f2a-469b-85c4-eec3b9c972ba" providerId="ADAL" clId="{06E14ABF-FC4C-4B98-B2A4-DF762ED946F2}" dt="2019-04-02T17:26:04.922" v="948" actId="790"/>
          <ac:spMkLst>
            <pc:docMk/>
            <pc:sldMk cId="1868214746" sldId="275"/>
            <ac:spMk id="3" creationId="{E1F1ABE0-AC4E-4F90-B3A3-E5B6ACA97DE2}"/>
          </ac:spMkLst>
        </pc:spChg>
        <pc:spChg chg="mod">
          <ac:chgData name="Thomas Stensitzki" userId="75cafe6b-2f2a-469b-85c4-eec3b9c972ba" providerId="ADAL" clId="{06E14ABF-FC4C-4B98-B2A4-DF762ED946F2}" dt="2019-04-02T17:26:04.926" v="949" actId="790"/>
          <ac:spMkLst>
            <pc:docMk/>
            <pc:sldMk cId="1868214746" sldId="275"/>
            <ac:spMk id="4" creationId="{4CE104C8-E25F-4F57-A2CC-91D8E92E352A}"/>
          </ac:spMkLst>
        </pc:spChg>
      </pc:sldChg>
      <pc:sldChg chg="modSp add modTransition modNotes">
        <pc:chgData name="Thomas Stensitzki" userId="75cafe6b-2f2a-469b-85c4-eec3b9c972ba" providerId="ADAL" clId="{06E14ABF-FC4C-4B98-B2A4-DF762ED946F2}" dt="2019-04-02T17:26:05.548" v="1192" actId="790"/>
        <pc:sldMkLst>
          <pc:docMk/>
          <pc:sldMk cId="1934596246" sldId="276"/>
        </pc:sldMkLst>
        <pc:spChg chg="mod">
          <ac:chgData name="Thomas Stensitzki" userId="75cafe6b-2f2a-469b-85c4-eec3b9c972ba" providerId="ADAL" clId="{06E14ABF-FC4C-4B98-B2A4-DF762ED946F2}" dt="2019-04-02T17:26:05.541" v="1189" actId="790"/>
          <ac:spMkLst>
            <pc:docMk/>
            <pc:sldMk cId="1934596246" sldId="276"/>
            <ac:spMk id="5" creationId="{8DFF3C50-4326-4090-9563-39166FAE160D}"/>
          </ac:spMkLst>
        </pc:spChg>
        <pc:spChg chg="mod">
          <ac:chgData name="Thomas Stensitzki" userId="75cafe6b-2f2a-469b-85c4-eec3b9c972ba" providerId="ADAL" clId="{06E14ABF-FC4C-4B98-B2A4-DF762ED946F2}" dt="2019-04-02T17:26:05.543" v="1190" actId="790"/>
          <ac:spMkLst>
            <pc:docMk/>
            <pc:sldMk cId="1934596246" sldId="276"/>
            <ac:spMk id="6" creationId="{9D5FCE5E-BE6E-4AAA-BFE2-CADDE02D473C}"/>
          </ac:spMkLst>
        </pc:spChg>
      </pc:sldChg>
      <pc:sldChg chg="modSp add modTransition modNotes">
        <pc:chgData name="Thomas Stensitzki" userId="75cafe6b-2f2a-469b-85c4-eec3b9c972ba" providerId="ADAL" clId="{06E14ABF-FC4C-4B98-B2A4-DF762ED946F2}" dt="2019-04-02T17:26:05.645" v="1217" actId="790"/>
        <pc:sldMkLst>
          <pc:docMk/>
          <pc:sldMk cId="2855165129" sldId="277"/>
        </pc:sldMkLst>
        <pc:spChg chg="mod">
          <ac:chgData name="Thomas Stensitzki" userId="75cafe6b-2f2a-469b-85c4-eec3b9c972ba" providerId="ADAL" clId="{06E14ABF-FC4C-4B98-B2A4-DF762ED946F2}" dt="2019-04-02T17:26:05.634" v="1213" actId="790"/>
          <ac:spMkLst>
            <pc:docMk/>
            <pc:sldMk cId="2855165129" sldId="277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637" v="1214" actId="790"/>
          <ac:spMkLst>
            <pc:docMk/>
            <pc:sldMk cId="2855165129" sldId="277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639" v="1215" actId="790"/>
          <ac:spMkLst>
            <pc:docMk/>
            <pc:sldMk cId="2855165129" sldId="277"/>
            <ac:spMk id="4" creationId="{00000000-0000-0000-0000-000000000000}"/>
          </ac:spMkLst>
        </pc:spChg>
      </pc:sldChg>
      <pc:sldChg chg="addSp delSp modSp add modAnim modNotes">
        <pc:chgData name="Thomas Stensitzki" userId="75cafe6b-2f2a-469b-85c4-eec3b9c972ba" providerId="ADAL" clId="{06E14ABF-FC4C-4B98-B2A4-DF762ED946F2}" dt="2019-04-02T17:26:05.654" v="1221" actId="790"/>
        <pc:sldMkLst>
          <pc:docMk/>
          <pc:sldMk cId="1033304354" sldId="278"/>
        </pc:sldMkLst>
        <pc:spChg chg="del mod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2" creationId="{3FE0C889-355A-49CE-9612-F2D9491A57EB}"/>
          </ac:spMkLst>
        </pc:spChg>
        <pc:spChg chg="del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3" creationId="{6972C1AA-C5EB-401E-B983-940BC0A952AA}"/>
          </ac:spMkLst>
        </pc:spChg>
        <pc:spChg chg="del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4" creationId="{DF000086-7022-44B9-AD7B-9447CA124F36}"/>
          </ac:spMkLst>
        </pc:spChg>
        <pc:spChg chg="del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5" creationId="{D579B85C-F73C-4AEE-841A-4DF0F9A1EF35}"/>
          </ac:spMkLst>
        </pc:spChg>
        <pc:spChg chg="add mod">
          <ac:chgData name="Thomas Stensitzki" userId="75cafe6b-2f2a-469b-85c4-eec3b9c972ba" providerId="ADAL" clId="{06E14ABF-FC4C-4B98-B2A4-DF762ED946F2}" dt="2019-04-02T17:26:05.647" v="1218" actId="790"/>
          <ac:spMkLst>
            <pc:docMk/>
            <pc:sldMk cId="1033304354" sldId="278"/>
            <ac:spMk id="6" creationId="{7BA3357F-020A-45B8-B458-830AF2948D01}"/>
          </ac:spMkLst>
        </pc:spChg>
        <pc:spChg chg="add mod">
          <ac:chgData name="Thomas Stensitzki" userId="75cafe6b-2f2a-469b-85c4-eec3b9c972ba" providerId="ADAL" clId="{06E14ABF-FC4C-4B98-B2A4-DF762ED946F2}" dt="2019-04-02T17:26:05.648" v="1219"/>
          <ac:spMkLst>
            <pc:docMk/>
            <pc:sldMk cId="1033304354" sldId="278"/>
            <ac:spMk id="9" creationId="{DA87809A-2B26-449A-B3AA-5104844FA68C}"/>
          </ac:spMkLst>
        </pc:spChg>
        <pc:picChg chg="add mod">
          <ac:chgData name="Thomas Stensitzki" userId="75cafe6b-2f2a-469b-85c4-eec3b9c972ba" providerId="ADAL" clId="{06E14ABF-FC4C-4B98-B2A4-DF762ED946F2}" dt="2019-03-31T15:22:42.160" v="760" actId="12788"/>
          <ac:picMkLst>
            <pc:docMk/>
            <pc:sldMk cId="1033304354" sldId="278"/>
            <ac:picMk id="7" creationId="{4E95E7AF-4650-4584-BB61-CF8017F63C8C}"/>
          </ac:picMkLst>
        </pc:picChg>
        <pc:picChg chg="add del">
          <ac:chgData name="Thomas Stensitzki" userId="75cafe6b-2f2a-469b-85c4-eec3b9c972ba" providerId="ADAL" clId="{06E14ABF-FC4C-4B98-B2A4-DF762ED946F2}" dt="2019-03-31T15:21:08.182" v="731"/>
          <ac:picMkLst>
            <pc:docMk/>
            <pc:sldMk cId="1033304354" sldId="278"/>
            <ac:picMk id="8" creationId="{380CBA5E-C381-47E4-9F48-5C22D6470C44}"/>
          </ac:picMkLst>
        </pc:picChg>
      </pc:sldChg>
      <pc:sldChg chg="modSp modNotes">
        <pc:chgData name="Thomas Stensitzki" userId="75cafe6b-2f2a-469b-85c4-eec3b9c972ba" providerId="ADAL" clId="{06E14ABF-FC4C-4B98-B2A4-DF762ED946F2}" dt="2019-04-02T17:26:05.004" v="975" actId="790"/>
        <pc:sldMkLst>
          <pc:docMk/>
          <pc:sldMk cId="1150042010" sldId="279"/>
        </pc:sldMkLst>
        <pc:spChg chg="mod">
          <ac:chgData name="Thomas Stensitzki" userId="75cafe6b-2f2a-469b-85c4-eec3b9c972ba" providerId="ADAL" clId="{06E14ABF-FC4C-4B98-B2A4-DF762ED946F2}" dt="2019-04-02T17:26:04.985" v="969" actId="790"/>
          <ac:spMkLst>
            <pc:docMk/>
            <pc:sldMk cId="1150042010" sldId="279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86" v="970" actId="790"/>
          <ac:spMkLst>
            <pc:docMk/>
            <pc:sldMk cId="1150042010" sldId="279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89" v="971"/>
          <ac:spMkLst>
            <pc:docMk/>
            <pc:sldMk cId="1150042010" sldId="279"/>
            <ac:spMk id="5" creationId="{90C552DC-66FE-45F6-BC1C-A305A795B23A}"/>
          </ac:spMkLst>
        </pc:spChg>
        <pc:spChg chg="mod">
          <ac:chgData name="Thomas Stensitzki" userId="75cafe6b-2f2a-469b-85c4-eec3b9c972ba" providerId="ADAL" clId="{06E14ABF-FC4C-4B98-B2A4-DF762ED946F2}" dt="2019-04-02T17:26:04.992" v="972"/>
          <ac:spMkLst>
            <pc:docMk/>
            <pc:sldMk cId="1150042010" sldId="279"/>
            <ac:spMk id="6" creationId="{4FD8AAAD-B130-4BF0-A786-B466E0825BE1}"/>
          </ac:spMkLst>
        </pc:spChg>
        <pc:spChg chg="mod">
          <ac:chgData name="Thomas Stensitzki" userId="75cafe6b-2f2a-469b-85c4-eec3b9c972ba" providerId="ADAL" clId="{06E14ABF-FC4C-4B98-B2A4-DF762ED946F2}" dt="2019-04-02T17:26:04.996" v="973"/>
          <ac:spMkLst>
            <pc:docMk/>
            <pc:sldMk cId="1150042010" sldId="279"/>
            <ac:spMk id="7" creationId="{71881F34-8302-4ABF-A8CB-2BA5A860A190}"/>
          </ac:spMkLst>
        </pc:spChg>
      </pc:sldChg>
      <pc:sldChg chg="modSp modNotes">
        <pc:chgData name="Thomas Stensitzki" userId="75cafe6b-2f2a-469b-85c4-eec3b9c972ba" providerId="ADAL" clId="{06E14ABF-FC4C-4B98-B2A4-DF762ED946F2}" dt="2019-04-02T17:26:05.014" v="979" actId="790"/>
        <pc:sldMkLst>
          <pc:docMk/>
          <pc:sldMk cId="1671032201" sldId="280"/>
        </pc:sldMkLst>
        <pc:spChg chg="mod">
          <ac:chgData name="Thomas Stensitzki" userId="75cafe6b-2f2a-469b-85c4-eec3b9c972ba" providerId="ADAL" clId="{06E14ABF-FC4C-4B98-B2A4-DF762ED946F2}" dt="2019-04-02T17:26:05.006" v="976" actId="790"/>
          <ac:spMkLst>
            <pc:docMk/>
            <pc:sldMk cId="1671032201" sldId="280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08" v="977" actId="790"/>
          <ac:spMkLst>
            <pc:docMk/>
            <pc:sldMk cId="1671032201" sldId="280"/>
            <ac:spMk id="4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7:26:05.023" v="983" actId="790"/>
        <pc:sldMkLst>
          <pc:docMk/>
          <pc:sldMk cId="1132588270" sldId="281"/>
        </pc:sldMkLst>
        <pc:spChg chg="mod">
          <ac:chgData name="Thomas Stensitzki" userId="75cafe6b-2f2a-469b-85c4-eec3b9c972ba" providerId="ADAL" clId="{06E14ABF-FC4C-4B98-B2A4-DF762ED946F2}" dt="2019-04-02T17:26:05.016" v="980" actId="790"/>
          <ac:spMkLst>
            <pc:docMk/>
            <pc:sldMk cId="1132588270" sldId="281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18" v="981" actId="790"/>
          <ac:spMkLst>
            <pc:docMk/>
            <pc:sldMk cId="1132588270" sldId="281"/>
            <ac:spMk id="4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9:52:52.175" v="3021" actId="20577"/>
        <pc:sldMkLst>
          <pc:docMk/>
          <pc:sldMk cId="2076058816" sldId="282"/>
        </pc:sldMkLst>
        <pc:spChg chg="mod">
          <ac:chgData name="Thomas Stensitzki" userId="75cafe6b-2f2a-469b-85c4-eec3b9c972ba" providerId="ADAL" clId="{06E14ABF-FC4C-4B98-B2A4-DF762ED946F2}" dt="2019-04-02T17:26:05.025" v="984" actId="790"/>
          <ac:spMkLst>
            <pc:docMk/>
            <pc:sldMk cId="2076058816" sldId="282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28" v="985" actId="790"/>
          <ac:spMkLst>
            <pc:docMk/>
            <pc:sldMk cId="2076058816" sldId="282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30" v="986" actId="790"/>
          <ac:spMkLst>
            <pc:docMk/>
            <pc:sldMk cId="2076058816" sldId="282"/>
            <ac:spMk id="6" creationId="{F62F7DE0-EF4D-441A-8DBF-3C5FA0E95556}"/>
          </ac:spMkLst>
        </pc:spChg>
        <pc:spChg chg="mod">
          <ac:chgData name="Thomas Stensitzki" userId="75cafe6b-2f2a-469b-85c4-eec3b9c972ba" providerId="ADAL" clId="{06E14ABF-FC4C-4B98-B2A4-DF762ED946F2}" dt="2019-04-02T17:26:05.033" v="987" actId="790"/>
          <ac:spMkLst>
            <pc:docMk/>
            <pc:sldMk cId="2076058816" sldId="282"/>
            <ac:spMk id="7" creationId="{76DCBBCF-1698-4412-A8E8-5ABB5CE0FA16}"/>
          </ac:spMkLst>
        </pc:spChg>
        <pc:spChg chg="mod">
          <ac:chgData name="Thomas Stensitzki" userId="75cafe6b-2f2a-469b-85c4-eec3b9c972ba" providerId="ADAL" clId="{06E14ABF-FC4C-4B98-B2A4-DF762ED946F2}" dt="2019-04-02T17:26:05.035" v="988" actId="790"/>
          <ac:spMkLst>
            <pc:docMk/>
            <pc:sldMk cId="2076058816" sldId="282"/>
            <ac:spMk id="8" creationId="{D75C25B8-B5FE-4606-AAF2-F0A06373FF48}"/>
          </ac:spMkLst>
        </pc:spChg>
        <pc:spChg chg="mod">
          <ac:chgData name="Thomas Stensitzki" userId="75cafe6b-2f2a-469b-85c4-eec3b9c972ba" providerId="ADAL" clId="{06E14ABF-FC4C-4B98-B2A4-DF762ED946F2}" dt="2019-04-02T17:26:05.037" v="989" actId="790"/>
          <ac:spMkLst>
            <pc:docMk/>
            <pc:sldMk cId="2076058816" sldId="282"/>
            <ac:spMk id="9" creationId="{A4CF482A-C2A7-4681-85C0-2F782B607DEF}"/>
          </ac:spMkLst>
        </pc:spChg>
        <pc:spChg chg="mod">
          <ac:chgData name="Thomas Stensitzki" userId="75cafe6b-2f2a-469b-85c4-eec3b9c972ba" providerId="ADAL" clId="{06E14ABF-FC4C-4B98-B2A4-DF762ED946F2}" dt="2019-04-02T17:26:05.040" v="990" actId="790"/>
          <ac:spMkLst>
            <pc:docMk/>
            <pc:sldMk cId="2076058816" sldId="282"/>
            <ac:spMk id="11" creationId="{8F23A59F-C109-4046-8B1B-667DD269D7B0}"/>
          </ac:spMkLst>
        </pc:spChg>
        <pc:spChg chg="mod">
          <ac:chgData name="Thomas Stensitzki" userId="75cafe6b-2f2a-469b-85c4-eec3b9c972ba" providerId="ADAL" clId="{06E14ABF-FC4C-4B98-B2A4-DF762ED946F2}" dt="2019-04-02T17:26:05.042" v="991" actId="790"/>
          <ac:spMkLst>
            <pc:docMk/>
            <pc:sldMk cId="2076058816" sldId="282"/>
            <ac:spMk id="12" creationId="{5542FB95-3F1D-4B69-B6E2-FC3390C4519B}"/>
          </ac:spMkLst>
        </pc:spChg>
        <pc:spChg chg="mod">
          <ac:chgData name="Thomas Stensitzki" userId="75cafe6b-2f2a-469b-85c4-eec3b9c972ba" providerId="ADAL" clId="{06E14ABF-FC4C-4B98-B2A4-DF762ED946F2}" dt="2019-04-02T17:26:05.044" v="992" actId="790"/>
          <ac:spMkLst>
            <pc:docMk/>
            <pc:sldMk cId="2076058816" sldId="282"/>
            <ac:spMk id="16" creationId="{82D42801-718B-4B9E-B02F-A6F39ECD0BF3}"/>
          </ac:spMkLst>
        </pc:spChg>
        <pc:spChg chg="mod">
          <ac:chgData name="Thomas Stensitzki" userId="75cafe6b-2f2a-469b-85c4-eec3b9c972ba" providerId="ADAL" clId="{06E14ABF-FC4C-4B98-B2A4-DF762ED946F2}" dt="2019-04-02T17:26:05.046" v="993" actId="790"/>
          <ac:spMkLst>
            <pc:docMk/>
            <pc:sldMk cId="2076058816" sldId="282"/>
            <ac:spMk id="17" creationId="{DA0B2A54-0A9B-48F0-A584-01D211B1C208}"/>
          </ac:spMkLst>
        </pc:spChg>
        <pc:spChg chg="mod">
          <ac:chgData name="Thomas Stensitzki" userId="75cafe6b-2f2a-469b-85c4-eec3b9c972ba" providerId="ADAL" clId="{06E14ABF-FC4C-4B98-B2A4-DF762ED946F2}" dt="2019-04-02T17:26:05.048" v="994" actId="790"/>
          <ac:spMkLst>
            <pc:docMk/>
            <pc:sldMk cId="2076058816" sldId="282"/>
            <ac:spMk id="18" creationId="{396DFEC8-32C3-4816-A9EB-9F94CFB03096}"/>
          </ac:spMkLst>
        </pc:spChg>
        <pc:spChg chg="mod">
          <ac:chgData name="Thomas Stensitzki" userId="75cafe6b-2f2a-469b-85c4-eec3b9c972ba" providerId="ADAL" clId="{06E14ABF-FC4C-4B98-B2A4-DF762ED946F2}" dt="2019-04-02T17:26:05.050" v="995" actId="790"/>
          <ac:spMkLst>
            <pc:docMk/>
            <pc:sldMk cId="2076058816" sldId="282"/>
            <ac:spMk id="19" creationId="{2E1AED60-3A22-485C-8D86-E0B6BE4BEDA4}"/>
          </ac:spMkLst>
        </pc:spChg>
        <pc:spChg chg="mod">
          <ac:chgData name="Thomas Stensitzki" userId="75cafe6b-2f2a-469b-85c4-eec3b9c972ba" providerId="ADAL" clId="{06E14ABF-FC4C-4B98-B2A4-DF762ED946F2}" dt="2019-04-02T17:26:05.052" v="996" actId="790"/>
          <ac:spMkLst>
            <pc:docMk/>
            <pc:sldMk cId="2076058816" sldId="282"/>
            <ac:spMk id="20" creationId="{49278B65-994E-45A5-8AFF-3E76DD9C4E8F}"/>
          </ac:spMkLst>
        </pc:spChg>
        <pc:spChg chg="mod">
          <ac:chgData name="Thomas Stensitzki" userId="75cafe6b-2f2a-469b-85c4-eec3b9c972ba" providerId="ADAL" clId="{06E14ABF-FC4C-4B98-B2A4-DF762ED946F2}" dt="2019-04-02T17:26:05.054" v="997" actId="790"/>
          <ac:spMkLst>
            <pc:docMk/>
            <pc:sldMk cId="2076058816" sldId="282"/>
            <ac:spMk id="21" creationId="{88898C4E-D74B-4F28-B7F6-EC28D824CCEB}"/>
          </ac:spMkLst>
        </pc:spChg>
        <pc:spChg chg="mod">
          <ac:chgData name="Thomas Stensitzki" userId="75cafe6b-2f2a-469b-85c4-eec3b9c972ba" providerId="ADAL" clId="{06E14ABF-FC4C-4B98-B2A4-DF762ED946F2}" dt="2019-04-02T17:26:05.056" v="998" actId="790"/>
          <ac:spMkLst>
            <pc:docMk/>
            <pc:sldMk cId="2076058816" sldId="282"/>
            <ac:spMk id="23" creationId="{49DE02D2-6748-4EE7-AD30-C4DB65312E5F}"/>
          </ac:spMkLst>
        </pc:spChg>
        <pc:spChg chg="mod">
          <ac:chgData name="Thomas Stensitzki" userId="75cafe6b-2f2a-469b-85c4-eec3b9c972ba" providerId="ADAL" clId="{06E14ABF-FC4C-4B98-B2A4-DF762ED946F2}" dt="2019-04-02T17:26:05.060" v="999" actId="790"/>
          <ac:spMkLst>
            <pc:docMk/>
            <pc:sldMk cId="2076058816" sldId="282"/>
            <ac:spMk id="24" creationId="{DB3D38A3-127B-4F9D-89BC-00350A649331}"/>
          </ac:spMkLst>
        </pc:spChg>
        <pc:spChg chg="mod">
          <ac:chgData name="Thomas Stensitzki" userId="75cafe6b-2f2a-469b-85c4-eec3b9c972ba" providerId="ADAL" clId="{06E14ABF-FC4C-4B98-B2A4-DF762ED946F2}" dt="2019-04-02T17:26:05.062" v="1000" actId="790"/>
          <ac:spMkLst>
            <pc:docMk/>
            <pc:sldMk cId="2076058816" sldId="282"/>
            <ac:spMk id="25" creationId="{5BAB1F16-2015-4D89-BE8A-007F6662A732}"/>
          </ac:spMkLst>
        </pc:spChg>
        <pc:spChg chg="mod">
          <ac:chgData name="Thomas Stensitzki" userId="75cafe6b-2f2a-469b-85c4-eec3b9c972ba" providerId="ADAL" clId="{06E14ABF-FC4C-4B98-B2A4-DF762ED946F2}" dt="2019-04-02T17:26:05.064" v="1001" actId="790"/>
          <ac:spMkLst>
            <pc:docMk/>
            <pc:sldMk cId="2076058816" sldId="282"/>
            <ac:spMk id="26" creationId="{AD8D6003-2C10-43BD-8707-D1534FC04D52}"/>
          </ac:spMkLst>
        </pc:spChg>
        <pc:spChg chg="mod">
          <ac:chgData name="Thomas Stensitzki" userId="75cafe6b-2f2a-469b-85c4-eec3b9c972ba" providerId="ADAL" clId="{06E14ABF-FC4C-4B98-B2A4-DF762ED946F2}" dt="2019-04-02T17:26:05.066" v="1002" actId="790"/>
          <ac:spMkLst>
            <pc:docMk/>
            <pc:sldMk cId="2076058816" sldId="282"/>
            <ac:spMk id="28" creationId="{98338748-2107-4BB3-BC6A-7A164AEFB071}"/>
          </ac:spMkLst>
        </pc:spChg>
        <pc:spChg chg="mod">
          <ac:chgData name="Thomas Stensitzki" userId="75cafe6b-2f2a-469b-85c4-eec3b9c972ba" providerId="ADAL" clId="{06E14ABF-FC4C-4B98-B2A4-DF762ED946F2}" dt="2019-04-02T17:26:05.068" v="1003" actId="790"/>
          <ac:spMkLst>
            <pc:docMk/>
            <pc:sldMk cId="2076058816" sldId="282"/>
            <ac:spMk id="29" creationId="{8B8EF847-031A-4DF2-88BD-8FC26FBC1F1A}"/>
          </ac:spMkLst>
        </pc:spChg>
        <pc:spChg chg="mod">
          <ac:chgData name="Thomas Stensitzki" userId="75cafe6b-2f2a-469b-85c4-eec3b9c972ba" providerId="ADAL" clId="{06E14ABF-FC4C-4B98-B2A4-DF762ED946F2}" dt="2019-04-02T17:26:05.070" v="1004" actId="790"/>
          <ac:spMkLst>
            <pc:docMk/>
            <pc:sldMk cId="2076058816" sldId="282"/>
            <ac:spMk id="33" creationId="{D5D450FA-28D8-4E59-A96F-FD020227EC24}"/>
          </ac:spMkLst>
        </pc:spChg>
        <pc:spChg chg="mod">
          <ac:chgData name="Thomas Stensitzki" userId="75cafe6b-2f2a-469b-85c4-eec3b9c972ba" providerId="ADAL" clId="{06E14ABF-FC4C-4B98-B2A4-DF762ED946F2}" dt="2019-04-02T17:26:05.072" v="1005" actId="790"/>
          <ac:spMkLst>
            <pc:docMk/>
            <pc:sldMk cId="2076058816" sldId="282"/>
            <ac:spMk id="34" creationId="{9C35CE43-7AB8-44BC-B35B-37EDE8CE88A6}"/>
          </ac:spMkLst>
        </pc:spChg>
        <pc:spChg chg="mod">
          <ac:chgData name="Thomas Stensitzki" userId="75cafe6b-2f2a-469b-85c4-eec3b9c972ba" providerId="ADAL" clId="{06E14ABF-FC4C-4B98-B2A4-DF762ED946F2}" dt="2019-04-02T17:26:05.075" v="1006" actId="790"/>
          <ac:spMkLst>
            <pc:docMk/>
            <pc:sldMk cId="2076058816" sldId="282"/>
            <ac:spMk id="35" creationId="{6A638919-5A09-4503-93FD-8BC21AC1C029}"/>
          </ac:spMkLst>
        </pc:spChg>
        <pc:spChg chg="mod">
          <ac:chgData name="Thomas Stensitzki" userId="75cafe6b-2f2a-469b-85c4-eec3b9c972ba" providerId="ADAL" clId="{06E14ABF-FC4C-4B98-B2A4-DF762ED946F2}" dt="2019-04-02T17:26:05.077" v="1007" actId="790"/>
          <ac:spMkLst>
            <pc:docMk/>
            <pc:sldMk cId="2076058816" sldId="282"/>
            <ac:spMk id="36" creationId="{31291AD7-42E1-4B97-B473-D91F0775BDB6}"/>
          </ac:spMkLst>
        </pc:spChg>
        <pc:spChg chg="mod">
          <ac:chgData name="Thomas Stensitzki" userId="75cafe6b-2f2a-469b-85c4-eec3b9c972ba" providerId="ADAL" clId="{06E14ABF-FC4C-4B98-B2A4-DF762ED946F2}" dt="2019-04-02T17:26:05.079" v="1008" actId="790"/>
          <ac:spMkLst>
            <pc:docMk/>
            <pc:sldMk cId="2076058816" sldId="282"/>
            <ac:spMk id="37" creationId="{3F650D61-57EF-4706-A8F8-AE278FCC1261}"/>
          </ac:spMkLst>
        </pc:spChg>
        <pc:spChg chg="mod">
          <ac:chgData name="Thomas Stensitzki" userId="75cafe6b-2f2a-469b-85c4-eec3b9c972ba" providerId="ADAL" clId="{06E14ABF-FC4C-4B98-B2A4-DF762ED946F2}" dt="2019-04-02T17:26:05.081" v="1009" actId="790"/>
          <ac:spMkLst>
            <pc:docMk/>
            <pc:sldMk cId="2076058816" sldId="282"/>
            <ac:spMk id="38" creationId="{DECD7FCF-EB08-4122-8A1B-F1B63E45EA58}"/>
          </ac:spMkLst>
        </pc:spChg>
        <pc:spChg chg="mod">
          <ac:chgData name="Thomas Stensitzki" userId="75cafe6b-2f2a-469b-85c4-eec3b9c972ba" providerId="ADAL" clId="{06E14ABF-FC4C-4B98-B2A4-DF762ED946F2}" dt="2019-04-02T17:26:05.082" v="1010" actId="790"/>
          <ac:spMkLst>
            <pc:docMk/>
            <pc:sldMk cId="2076058816" sldId="282"/>
            <ac:spMk id="40" creationId="{781B81E8-CED1-42DB-B223-9EDB5CA114D3}"/>
          </ac:spMkLst>
        </pc:spChg>
        <pc:spChg chg="mod">
          <ac:chgData name="Thomas Stensitzki" userId="75cafe6b-2f2a-469b-85c4-eec3b9c972ba" providerId="ADAL" clId="{06E14ABF-FC4C-4B98-B2A4-DF762ED946F2}" dt="2019-04-02T17:26:05.084" v="1011" actId="790"/>
          <ac:spMkLst>
            <pc:docMk/>
            <pc:sldMk cId="2076058816" sldId="282"/>
            <ac:spMk id="41" creationId="{FB7D20D8-3C3F-4806-ACBA-E628FF971B08}"/>
          </ac:spMkLst>
        </pc:spChg>
        <pc:spChg chg="mod">
          <ac:chgData name="Thomas Stensitzki" userId="75cafe6b-2f2a-469b-85c4-eec3b9c972ba" providerId="ADAL" clId="{06E14ABF-FC4C-4B98-B2A4-DF762ED946F2}" dt="2019-04-02T17:26:05.086" v="1012" actId="790"/>
          <ac:spMkLst>
            <pc:docMk/>
            <pc:sldMk cId="2076058816" sldId="282"/>
            <ac:spMk id="42" creationId="{06DD31FF-6956-4F84-8D30-8070BD980457}"/>
          </ac:spMkLst>
        </pc:spChg>
        <pc:spChg chg="mod">
          <ac:chgData name="Thomas Stensitzki" userId="75cafe6b-2f2a-469b-85c4-eec3b9c972ba" providerId="ADAL" clId="{06E14ABF-FC4C-4B98-B2A4-DF762ED946F2}" dt="2019-04-02T17:26:05.088" v="1013" actId="790"/>
          <ac:spMkLst>
            <pc:docMk/>
            <pc:sldMk cId="2076058816" sldId="282"/>
            <ac:spMk id="43" creationId="{4F89ED60-1566-4817-9981-0A78D579EBDB}"/>
          </ac:spMkLst>
        </pc:spChg>
        <pc:spChg chg="mod">
          <ac:chgData name="Thomas Stensitzki" userId="75cafe6b-2f2a-469b-85c4-eec3b9c972ba" providerId="ADAL" clId="{06E14ABF-FC4C-4B98-B2A4-DF762ED946F2}" dt="2019-04-02T17:26:05.091" v="1014" actId="790"/>
          <ac:spMkLst>
            <pc:docMk/>
            <pc:sldMk cId="2076058816" sldId="282"/>
            <ac:spMk id="45" creationId="{5B09679F-48D1-4721-9CBF-9F92DCBFBFCA}"/>
          </ac:spMkLst>
        </pc:spChg>
        <pc:spChg chg="mod">
          <ac:chgData name="Thomas Stensitzki" userId="75cafe6b-2f2a-469b-85c4-eec3b9c972ba" providerId="ADAL" clId="{06E14ABF-FC4C-4B98-B2A4-DF762ED946F2}" dt="2019-04-02T17:26:05.092" v="1015" actId="790"/>
          <ac:spMkLst>
            <pc:docMk/>
            <pc:sldMk cId="2076058816" sldId="282"/>
            <ac:spMk id="46" creationId="{DE52D1CD-115F-4A21-B7E5-B2A105C68E0E}"/>
          </ac:spMkLst>
        </pc:spChg>
        <pc:spChg chg="mod">
          <ac:chgData name="Thomas Stensitzki" userId="75cafe6b-2f2a-469b-85c4-eec3b9c972ba" providerId="ADAL" clId="{06E14ABF-FC4C-4B98-B2A4-DF762ED946F2}" dt="2019-04-02T17:26:05.095" v="1016" actId="790"/>
          <ac:spMkLst>
            <pc:docMk/>
            <pc:sldMk cId="2076058816" sldId="282"/>
            <ac:spMk id="50" creationId="{5B95665D-10AA-49D4-A0A9-F9060D2DA492}"/>
          </ac:spMkLst>
        </pc:spChg>
        <pc:spChg chg="mod">
          <ac:chgData name="Thomas Stensitzki" userId="75cafe6b-2f2a-469b-85c4-eec3b9c972ba" providerId="ADAL" clId="{06E14ABF-FC4C-4B98-B2A4-DF762ED946F2}" dt="2019-04-02T17:26:05.097" v="1017" actId="790"/>
          <ac:spMkLst>
            <pc:docMk/>
            <pc:sldMk cId="2076058816" sldId="282"/>
            <ac:spMk id="51" creationId="{0D8805D8-B719-47DD-A4E5-047C98F400D5}"/>
          </ac:spMkLst>
        </pc:spChg>
        <pc:spChg chg="mod">
          <ac:chgData name="Thomas Stensitzki" userId="75cafe6b-2f2a-469b-85c4-eec3b9c972ba" providerId="ADAL" clId="{06E14ABF-FC4C-4B98-B2A4-DF762ED946F2}" dt="2019-04-02T17:26:05.098" v="1018" actId="790"/>
          <ac:spMkLst>
            <pc:docMk/>
            <pc:sldMk cId="2076058816" sldId="282"/>
            <ac:spMk id="52" creationId="{7C20E34F-687E-41C9-9A72-B64C84167C6A}"/>
          </ac:spMkLst>
        </pc:spChg>
        <pc:spChg chg="mod">
          <ac:chgData name="Thomas Stensitzki" userId="75cafe6b-2f2a-469b-85c4-eec3b9c972ba" providerId="ADAL" clId="{06E14ABF-FC4C-4B98-B2A4-DF762ED946F2}" dt="2019-04-02T17:26:05.101" v="1019" actId="790"/>
          <ac:spMkLst>
            <pc:docMk/>
            <pc:sldMk cId="2076058816" sldId="282"/>
            <ac:spMk id="53" creationId="{F6D1AD72-B419-4BD2-B735-2B615CC51905}"/>
          </ac:spMkLst>
        </pc:spChg>
        <pc:spChg chg="mod">
          <ac:chgData name="Thomas Stensitzki" userId="75cafe6b-2f2a-469b-85c4-eec3b9c972ba" providerId="ADAL" clId="{06E14ABF-FC4C-4B98-B2A4-DF762ED946F2}" dt="2019-04-02T17:26:05.102" v="1020" actId="790"/>
          <ac:spMkLst>
            <pc:docMk/>
            <pc:sldMk cId="2076058816" sldId="282"/>
            <ac:spMk id="54" creationId="{59D06D6B-8480-4215-B570-5503A0D2655C}"/>
          </ac:spMkLst>
        </pc:spChg>
        <pc:spChg chg="mod">
          <ac:chgData name="Thomas Stensitzki" userId="75cafe6b-2f2a-469b-85c4-eec3b9c972ba" providerId="ADAL" clId="{06E14ABF-FC4C-4B98-B2A4-DF762ED946F2}" dt="2019-04-02T17:26:05.104" v="1021" actId="790"/>
          <ac:spMkLst>
            <pc:docMk/>
            <pc:sldMk cId="2076058816" sldId="282"/>
            <ac:spMk id="55" creationId="{425F537C-74F2-42B1-A79A-6C2CEA2970FB}"/>
          </ac:spMkLst>
        </pc:spChg>
        <pc:spChg chg="mod">
          <ac:chgData name="Thomas Stensitzki" userId="75cafe6b-2f2a-469b-85c4-eec3b9c972ba" providerId="ADAL" clId="{06E14ABF-FC4C-4B98-B2A4-DF762ED946F2}" dt="2019-04-02T17:26:05.107" v="1022" actId="790"/>
          <ac:spMkLst>
            <pc:docMk/>
            <pc:sldMk cId="2076058816" sldId="282"/>
            <ac:spMk id="57" creationId="{F0D23161-135A-4AF1-BB75-76C5570F5AE3}"/>
          </ac:spMkLst>
        </pc:spChg>
        <pc:spChg chg="mod ord">
          <ac:chgData name="Thomas Stensitzki" userId="75cafe6b-2f2a-469b-85c4-eec3b9c972ba" providerId="ADAL" clId="{06E14ABF-FC4C-4B98-B2A4-DF762ED946F2}" dt="2019-04-02T19:51:02.407" v="2972" actId="20577"/>
          <ac:spMkLst>
            <pc:docMk/>
            <pc:sldMk cId="2076058816" sldId="282"/>
            <ac:spMk id="58" creationId="{08A83926-97E0-4CB6-BC56-C92F6B3769A9}"/>
          </ac:spMkLst>
        </pc:spChg>
        <pc:spChg chg="mod">
          <ac:chgData name="Thomas Stensitzki" userId="75cafe6b-2f2a-469b-85c4-eec3b9c972ba" providerId="ADAL" clId="{06E14ABF-FC4C-4B98-B2A4-DF762ED946F2}" dt="2019-04-02T17:26:05.112" v="1024" actId="790"/>
          <ac:spMkLst>
            <pc:docMk/>
            <pc:sldMk cId="2076058816" sldId="282"/>
            <ac:spMk id="59" creationId="{F4249D3C-4940-4FF7-AA8A-2C36009823B5}"/>
          </ac:spMkLst>
        </pc:spChg>
        <pc:spChg chg="mod">
          <ac:chgData name="Thomas Stensitzki" userId="75cafe6b-2f2a-469b-85c4-eec3b9c972ba" providerId="ADAL" clId="{06E14ABF-FC4C-4B98-B2A4-DF762ED946F2}" dt="2019-04-02T19:52:19.600" v="2985" actId="6549"/>
          <ac:spMkLst>
            <pc:docMk/>
            <pc:sldMk cId="2076058816" sldId="282"/>
            <ac:spMk id="60" creationId="{81C9ADC1-2CE7-4682-A319-6793A5EBA916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2" creationId="{24341E35-70FD-4129-9826-7F588729EDA1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3" creationId="{10759A39-52EB-4C11-9484-7B43D00FB933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7" creationId="{55C124C0-2B5D-403A-85A0-34320BB20EC6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8" creationId="{9678DCC1-5B6F-4DC1-8286-5B02F7CA789B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9" creationId="{B8E5794B-BCD0-4F5E-93B4-F68EF2C964BC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70" creationId="{429BA588-CFFD-4779-B12C-F1058B9F3609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71" creationId="{1E156875-94A0-47DE-9825-76ED3A9F09EB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72" creationId="{E767ED92-B7DC-423F-9511-1D5F8C3D3574}"/>
          </ac:spMkLst>
        </pc:spChg>
        <pc:spChg chg="mod">
          <ac:chgData name="Thomas Stensitzki" userId="75cafe6b-2f2a-469b-85c4-eec3b9c972ba" providerId="ADAL" clId="{06E14ABF-FC4C-4B98-B2A4-DF762ED946F2}" dt="2019-04-02T17:26:05.131" v="1034"/>
          <ac:spMkLst>
            <pc:docMk/>
            <pc:sldMk cId="2076058816" sldId="282"/>
            <ac:spMk id="73" creationId="{6B8A3B69-F8E5-403B-9A81-038D693ABD23}"/>
          </ac:spMkLst>
        </pc:spChg>
        <pc:spChg chg="mod">
          <ac:chgData name="Thomas Stensitzki" userId="75cafe6b-2f2a-469b-85c4-eec3b9c972ba" providerId="ADAL" clId="{06E14ABF-FC4C-4B98-B2A4-DF762ED946F2}" dt="2019-04-02T19:52:52.175" v="3021" actId="20577"/>
          <ac:spMkLst>
            <pc:docMk/>
            <pc:sldMk cId="2076058816" sldId="282"/>
            <ac:spMk id="74" creationId="{B0534B11-814E-4AD9-AE56-DBC2FED68A07}"/>
          </ac:spMkLst>
        </pc:spChg>
        <pc:spChg chg="mod">
          <ac:chgData name="Thomas Stensitzki" userId="75cafe6b-2f2a-469b-85c4-eec3b9c972ba" providerId="ADAL" clId="{06E14ABF-FC4C-4B98-B2A4-DF762ED946F2}" dt="2019-04-02T17:26:05.138" v="1036" actId="790"/>
          <ac:spMkLst>
            <pc:docMk/>
            <pc:sldMk cId="2076058816" sldId="282"/>
            <ac:spMk id="76" creationId="{2FF4152D-4100-44A5-B7FF-7C5583EEB81C}"/>
          </ac:spMkLst>
        </pc:spChg>
        <pc:spChg chg="mod">
          <ac:chgData name="Thomas Stensitzki" userId="75cafe6b-2f2a-469b-85c4-eec3b9c972ba" providerId="ADAL" clId="{06E14ABF-FC4C-4B98-B2A4-DF762ED946F2}" dt="2019-04-02T17:26:05.141" v="1037" actId="790"/>
          <ac:spMkLst>
            <pc:docMk/>
            <pc:sldMk cId="2076058816" sldId="282"/>
            <ac:spMk id="77" creationId="{BC269410-790F-4A5A-9013-FE886CD3B3C9}"/>
          </ac:spMkLst>
        </pc:spChg>
        <pc:spChg chg="mod">
          <ac:chgData name="Thomas Stensitzki" userId="75cafe6b-2f2a-469b-85c4-eec3b9c972ba" providerId="ADAL" clId="{06E14ABF-FC4C-4B98-B2A4-DF762ED946F2}" dt="2019-04-02T17:26:05.146" v="1040" actId="790"/>
          <ac:spMkLst>
            <pc:docMk/>
            <pc:sldMk cId="2076058816" sldId="282"/>
            <ac:spMk id="80" creationId="{124AF9B2-DF95-4B77-9A73-34597B088C3F}"/>
          </ac:spMkLst>
        </pc:spChg>
        <pc:spChg chg="mod">
          <ac:chgData name="Thomas Stensitzki" userId="75cafe6b-2f2a-469b-85c4-eec3b9c972ba" providerId="ADAL" clId="{06E14ABF-FC4C-4B98-B2A4-DF762ED946F2}" dt="2019-04-02T17:26:05.142" v="1038" actId="790"/>
          <ac:spMkLst>
            <pc:docMk/>
            <pc:sldMk cId="2076058816" sldId="282"/>
            <ac:spMk id="81" creationId="{237464FC-322F-4F59-9369-3EBBE6AC0979}"/>
          </ac:spMkLst>
        </pc:spChg>
        <pc:spChg chg="mod">
          <ac:chgData name="Thomas Stensitzki" userId="75cafe6b-2f2a-469b-85c4-eec3b9c972ba" providerId="ADAL" clId="{06E14ABF-FC4C-4B98-B2A4-DF762ED946F2}" dt="2019-04-02T17:26:05.144" v="1039" actId="790"/>
          <ac:spMkLst>
            <pc:docMk/>
            <pc:sldMk cId="2076058816" sldId="282"/>
            <ac:spMk id="82" creationId="{5D90401D-74B5-45B8-B40F-92D50D702935}"/>
          </ac:spMkLst>
        </pc:spChg>
        <pc:spChg chg="mod">
          <ac:chgData name="Thomas Stensitzki" userId="75cafe6b-2f2a-469b-85c4-eec3b9c972ba" providerId="ADAL" clId="{06E14ABF-FC4C-4B98-B2A4-DF762ED946F2}" dt="2019-04-02T19:50:03.782" v="2949" actId="14100"/>
          <ac:spMkLst>
            <pc:docMk/>
            <pc:sldMk cId="2076058816" sldId="282"/>
            <ac:spMk id="84" creationId="{61CE350B-0A94-40FA-B41F-C21330060B0D}"/>
          </ac:spMkLst>
        </pc:spChg>
        <pc:spChg chg="mod">
          <ac:chgData name="Thomas Stensitzki" userId="75cafe6b-2f2a-469b-85c4-eec3b9c972ba" providerId="ADAL" clId="{06E14ABF-FC4C-4B98-B2A4-DF762ED946F2}" dt="2019-04-02T17:26:05.160" v="1045"/>
          <ac:spMkLst>
            <pc:docMk/>
            <pc:sldMk cId="2076058816" sldId="282"/>
            <ac:spMk id="85" creationId="{F1416382-28DA-4559-8ABC-B25685AE9050}"/>
          </ac:spMkLst>
        </pc:spChg>
        <pc:spChg chg="mod">
          <ac:chgData name="Thomas Stensitzki" userId="75cafe6b-2f2a-469b-85c4-eec3b9c972ba" providerId="ADAL" clId="{06E14ABF-FC4C-4B98-B2A4-DF762ED946F2}" dt="2019-04-02T17:26:05.161" v="1046"/>
          <ac:spMkLst>
            <pc:docMk/>
            <pc:sldMk cId="2076058816" sldId="282"/>
            <ac:spMk id="86" creationId="{D178F1CD-43EE-4744-9ECF-9A31C10D9347}"/>
          </ac:spMkLst>
        </pc:spChg>
        <pc:spChg chg="mod">
          <ac:chgData name="Thomas Stensitzki" userId="75cafe6b-2f2a-469b-85c4-eec3b9c972ba" providerId="ADAL" clId="{06E14ABF-FC4C-4B98-B2A4-DF762ED946F2}" dt="2019-04-02T17:26:05.162" v="1047"/>
          <ac:spMkLst>
            <pc:docMk/>
            <pc:sldMk cId="2076058816" sldId="282"/>
            <ac:spMk id="87" creationId="{0EE4406A-4E24-4817-819B-DCD06967BC67}"/>
          </ac:spMkLst>
        </pc:spChg>
        <pc:spChg chg="mod">
          <ac:chgData name="Thomas Stensitzki" userId="75cafe6b-2f2a-469b-85c4-eec3b9c972ba" providerId="ADAL" clId="{06E14ABF-FC4C-4B98-B2A4-DF762ED946F2}" dt="2019-04-02T19:50:12.361" v="2960" actId="14100"/>
          <ac:spMkLst>
            <pc:docMk/>
            <pc:sldMk cId="2076058816" sldId="282"/>
            <ac:spMk id="88" creationId="{99F84343-C15C-4877-B557-3C3C879E611D}"/>
          </ac:spMkLst>
        </pc:spChg>
        <pc:spChg chg="mod">
          <ac:chgData name="Thomas Stensitzki" userId="75cafe6b-2f2a-469b-85c4-eec3b9c972ba" providerId="ADAL" clId="{06E14ABF-FC4C-4B98-B2A4-DF762ED946F2}" dt="2019-04-02T17:26:05.168" v="1049"/>
          <ac:spMkLst>
            <pc:docMk/>
            <pc:sldMk cId="2076058816" sldId="282"/>
            <ac:spMk id="89" creationId="{51F8C5DD-2B6E-49F2-BEE8-50470122C9B7}"/>
          </ac:spMkLst>
        </pc:spChg>
        <pc:spChg chg="mod">
          <ac:chgData name="Thomas Stensitzki" userId="75cafe6b-2f2a-469b-85c4-eec3b9c972ba" providerId="ADAL" clId="{06E14ABF-FC4C-4B98-B2A4-DF762ED946F2}" dt="2019-04-02T17:26:05.169" v="1050"/>
          <ac:spMkLst>
            <pc:docMk/>
            <pc:sldMk cId="2076058816" sldId="282"/>
            <ac:spMk id="90" creationId="{841869D8-A9E9-42C7-A91E-7167793A4A11}"/>
          </ac:spMkLst>
        </pc:spChg>
        <pc:spChg chg="mod">
          <ac:chgData name="Thomas Stensitzki" userId="75cafe6b-2f2a-469b-85c4-eec3b9c972ba" providerId="ADAL" clId="{06E14ABF-FC4C-4B98-B2A4-DF762ED946F2}" dt="2019-04-02T17:26:05.170" v="1051"/>
          <ac:spMkLst>
            <pc:docMk/>
            <pc:sldMk cId="2076058816" sldId="282"/>
            <ac:spMk id="91" creationId="{A3CDB667-CD11-45C7-8963-3437A0AF093D}"/>
          </ac:spMkLst>
        </pc:spChg>
        <pc:spChg chg="mod">
          <ac:chgData name="Thomas Stensitzki" userId="75cafe6b-2f2a-469b-85c4-eec3b9c972ba" providerId="ADAL" clId="{06E14ABF-FC4C-4B98-B2A4-DF762ED946F2}" dt="2019-04-02T17:26:05.171" v="1052"/>
          <ac:spMkLst>
            <pc:docMk/>
            <pc:sldMk cId="2076058816" sldId="282"/>
            <ac:spMk id="92" creationId="{06FA877B-2CB6-462C-9955-7FD175834F4A}"/>
          </ac:spMkLst>
        </pc:spChg>
        <pc:spChg chg="mod">
          <ac:chgData name="Thomas Stensitzki" userId="75cafe6b-2f2a-469b-85c4-eec3b9c972ba" providerId="ADAL" clId="{06E14ABF-FC4C-4B98-B2A4-DF762ED946F2}" dt="2019-04-02T17:26:05.173" v="1053"/>
          <ac:spMkLst>
            <pc:docMk/>
            <pc:sldMk cId="2076058816" sldId="282"/>
            <ac:spMk id="93" creationId="{3265F057-6EB8-4A72-8E8A-6E181DA737F8}"/>
          </ac:spMkLst>
        </pc:spChg>
        <pc:spChg chg="mod">
          <ac:chgData name="Thomas Stensitzki" userId="75cafe6b-2f2a-469b-85c4-eec3b9c972ba" providerId="ADAL" clId="{06E14ABF-FC4C-4B98-B2A4-DF762ED946F2}" dt="2019-04-02T17:26:05.175" v="1054" actId="790"/>
          <ac:spMkLst>
            <pc:docMk/>
            <pc:sldMk cId="2076058816" sldId="282"/>
            <ac:spMk id="94" creationId="{0DEA660C-1826-4768-8E5C-682111DA8C6A}"/>
          </ac:spMkLst>
        </pc:spChg>
        <pc:spChg chg="mod">
          <ac:chgData name="Thomas Stensitzki" userId="75cafe6b-2f2a-469b-85c4-eec3b9c972ba" providerId="ADAL" clId="{06E14ABF-FC4C-4B98-B2A4-DF762ED946F2}" dt="2019-04-02T17:26:05.178" v="1055" actId="790"/>
          <ac:spMkLst>
            <pc:docMk/>
            <pc:sldMk cId="2076058816" sldId="282"/>
            <ac:spMk id="95" creationId="{63A18CDE-34AC-41AF-AFAC-F531728C652A}"/>
          </ac:spMkLst>
        </pc:spChg>
        <pc:spChg chg="mod">
          <ac:chgData name="Thomas Stensitzki" userId="75cafe6b-2f2a-469b-85c4-eec3b9c972ba" providerId="ADAL" clId="{06E14ABF-FC4C-4B98-B2A4-DF762ED946F2}" dt="2019-04-02T17:26:05.179" v="1056"/>
          <ac:spMkLst>
            <pc:docMk/>
            <pc:sldMk cId="2076058816" sldId="282"/>
            <ac:spMk id="96" creationId="{40476321-C2FE-44C0-BCCD-A2BDB3E4D864}"/>
          </ac:spMkLst>
        </pc:spChg>
        <pc:spChg chg="mod">
          <ac:chgData name="Thomas Stensitzki" userId="75cafe6b-2f2a-469b-85c4-eec3b9c972ba" providerId="ADAL" clId="{06E14ABF-FC4C-4B98-B2A4-DF762ED946F2}" dt="2019-04-02T17:26:05.180" v="1057"/>
          <ac:spMkLst>
            <pc:docMk/>
            <pc:sldMk cId="2076058816" sldId="282"/>
            <ac:spMk id="97" creationId="{8E08CAA7-5D90-45E7-A66B-C21D5FDA1F0F}"/>
          </ac:spMkLst>
        </pc:spChg>
        <pc:spChg chg="mod">
          <ac:chgData name="Thomas Stensitzki" userId="75cafe6b-2f2a-469b-85c4-eec3b9c972ba" providerId="ADAL" clId="{06E14ABF-FC4C-4B98-B2A4-DF762ED946F2}" dt="2019-04-02T17:26:05.181" v="1058"/>
          <ac:spMkLst>
            <pc:docMk/>
            <pc:sldMk cId="2076058816" sldId="282"/>
            <ac:spMk id="98" creationId="{8E409079-33B3-4CC2-BE26-2CAC31149078}"/>
          </ac:spMkLst>
        </pc:spChg>
        <pc:spChg chg="mod">
          <ac:chgData name="Thomas Stensitzki" userId="75cafe6b-2f2a-469b-85c4-eec3b9c972ba" providerId="ADAL" clId="{06E14ABF-FC4C-4B98-B2A4-DF762ED946F2}" dt="2019-04-02T17:26:05.182" v="1059"/>
          <ac:spMkLst>
            <pc:docMk/>
            <pc:sldMk cId="2076058816" sldId="282"/>
            <ac:spMk id="99" creationId="{1F45599B-18C7-4B05-8F3D-F9C1BAD42F46}"/>
          </ac:spMkLst>
        </pc:spChg>
        <pc:graphicFrameChg chg="modGraphic">
          <ac:chgData name="Thomas Stensitzki" userId="75cafe6b-2f2a-469b-85c4-eec3b9c972ba" providerId="ADAL" clId="{06E14ABF-FC4C-4B98-B2A4-DF762ED946F2}" dt="2019-04-02T19:52:42.039" v="3003" actId="20577"/>
          <ac:graphicFrameMkLst>
            <pc:docMk/>
            <pc:sldMk cId="2076058816" sldId="282"/>
            <ac:graphicFrameMk id="83" creationId="{F4F03CA6-908E-4432-948B-28BB92DC7E5D}"/>
          </ac:graphicFrameMkLst>
        </pc:graphicFrameChg>
        <pc:picChg chg="mod">
          <ac:chgData name="Thomas Stensitzki" userId="75cafe6b-2f2a-469b-85c4-eec3b9c972ba" providerId="ADAL" clId="{06E14ABF-FC4C-4B98-B2A4-DF762ED946F2}" dt="2019-04-02T19:51:57.535" v="2983" actId="1035"/>
          <ac:picMkLst>
            <pc:docMk/>
            <pc:sldMk cId="2076058816" sldId="282"/>
            <ac:picMk id="64" creationId="{9B95609C-5F35-4600-A744-426749373FC2}"/>
          </ac:picMkLst>
        </pc:picChg>
        <pc:picChg chg="mod">
          <ac:chgData name="Thomas Stensitzki" userId="75cafe6b-2f2a-469b-85c4-eec3b9c972ba" providerId="ADAL" clId="{06E14ABF-FC4C-4B98-B2A4-DF762ED946F2}" dt="2019-04-02T19:51:57.535" v="2983" actId="1035"/>
          <ac:picMkLst>
            <pc:docMk/>
            <pc:sldMk cId="2076058816" sldId="282"/>
            <ac:picMk id="65" creationId="{1A20E820-2BF1-4821-96BA-B1A39854CAAD}"/>
          </ac:picMkLst>
        </pc:picChg>
        <pc:cxnChg chg="mod">
          <ac:chgData name="Thomas Stensitzki" userId="75cafe6b-2f2a-469b-85c4-eec3b9c972ba" providerId="ADAL" clId="{06E14ABF-FC4C-4B98-B2A4-DF762ED946F2}" dt="2019-04-02T19:51:11.880" v="2976" actId="1035"/>
          <ac:cxnSpMkLst>
            <pc:docMk/>
            <pc:sldMk cId="2076058816" sldId="282"/>
            <ac:cxnSpMk id="66" creationId="{2528A306-2450-490E-ABC2-0BB13EE29650}"/>
          </ac:cxnSpMkLst>
        </pc:cxnChg>
      </pc:sldChg>
      <pc:sldChg chg="modSp modNotes">
        <pc:chgData name="Thomas Stensitzki" userId="75cafe6b-2f2a-469b-85c4-eec3b9c972ba" providerId="ADAL" clId="{06E14ABF-FC4C-4B98-B2A4-DF762ED946F2}" dt="2019-04-02T19:54:44.111" v="3160" actId="20577"/>
        <pc:sldMkLst>
          <pc:docMk/>
          <pc:sldMk cId="2739882426" sldId="283"/>
        </pc:sldMkLst>
        <pc:spChg chg="mod">
          <ac:chgData name="Thomas Stensitzki" userId="75cafe6b-2f2a-469b-85c4-eec3b9c972ba" providerId="ADAL" clId="{06E14ABF-FC4C-4B98-B2A4-DF762ED946F2}" dt="2019-04-02T17:26:05.188" v="1062" actId="790"/>
          <ac:spMkLst>
            <pc:docMk/>
            <pc:sldMk cId="2739882426" sldId="283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9:54:44.111" v="3160" actId="20577"/>
          <ac:spMkLst>
            <pc:docMk/>
            <pc:sldMk cId="2739882426" sldId="283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01" v="1064" actId="790"/>
          <ac:spMkLst>
            <pc:docMk/>
            <pc:sldMk cId="2739882426" sldId="283"/>
            <ac:spMk id="4" creationId="{00000000-0000-0000-0000-000000000000}"/>
          </ac:spMkLst>
        </pc:spChg>
      </pc:sldChg>
      <pc:sldChg chg="addSp modSp modAnim modNotes">
        <pc:chgData name="Thomas Stensitzki" userId="75cafe6b-2f2a-469b-85c4-eec3b9c972ba" providerId="ADAL" clId="{06E14ABF-FC4C-4B98-B2A4-DF762ED946F2}" dt="2019-04-02T19:55:30.398" v="3166" actId="164"/>
        <pc:sldMkLst>
          <pc:docMk/>
          <pc:sldMk cId="3295375751" sldId="284"/>
        </pc:sldMkLst>
        <pc:spChg chg="mod">
          <ac:chgData name="Thomas Stensitzki" userId="75cafe6b-2f2a-469b-85c4-eec3b9c972ba" providerId="ADAL" clId="{06E14ABF-FC4C-4B98-B2A4-DF762ED946F2}" dt="2019-04-02T17:26:05.243" v="1079" actId="790"/>
          <ac:spMkLst>
            <pc:docMk/>
            <pc:sldMk cId="3295375751" sldId="284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45" v="1080" actId="790"/>
          <ac:spMkLst>
            <pc:docMk/>
            <pc:sldMk cId="3295375751" sldId="284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47" v="1081" actId="790"/>
          <ac:spMkLst>
            <pc:docMk/>
            <pc:sldMk cId="3295375751" sldId="284"/>
            <ac:spMk id="14" creationId="{BA23A442-04EB-40D3-83AF-C6FD11AC0586}"/>
          </ac:spMkLst>
        </pc:spChg>
        <pc:spChg chg="mod">
          <ac:chgData name="Thomas Stensitzki" userId="75cafe6b-2f2a-469b-85c4-eec3b9c972ba" providerId="ADAL" clId="{06E14ABF-FC4C-4B98-B2A4-DF762ED946F2}" dt="2019-04-02T17:26:05.249" v="1082" actId="790"/>
          <ac:spMkLst>
            <pc:docMk/>
            <pc:sldMk cId="3295375751" sldId="284"/>
            <ac:spMk id="17" creationId="{C63B20CF-D54B-47F0-B932-887BF7A5BEBE}"/>
          </ac:spMkLst>
        </pc:spChg>
        <pc:spChg chg="mod">
          <ac:chgData name="Thomas Stensitzki" userId="75cafe6b-2f2a-469b-85c4-eec3b9c972ba" providerId="ADAL" clId="{06E14ABF-FC4C-4B98-B2A4-DF762ED946F2}" dt="2019-04-02T19:55:27.242" v="3165" actId="164"/>
          <ac:spMkLst>
            <pc:docMk/>
            <pc:sldMk cId="3295375751" sldId="284"/>
            <ac:spMk id="19" creationId="{BDF63F04-AADF-4F68-BB8B-92D2FFD0D2BF}"/>
          </ac:spMkLst>
        </pc:spChg>
        <pc:spChg chg="mod">
          <ac:chgData name="Thomas Stensitzki" userId="75cafe6b-2f2a-469b-85c4-eec3b9c972ba" providerId="ADAL" clId="{06E14ABF-FC4C-4B98-B2A4-DF762ED946F2}" dt="2019-04-02T19:55:30.398" v="3166" actId="164"/>
          <ac:spMkLst>
            <pc:docMk/>
            <pc:sldMk cId="3295375751" sldId="284"/>
            <ac:spMk id="20" creationId="{D4F9EED7-40BF-41C8-AA9B-66FA82499416}"/>
          </ac:spMkLst>
        </pc:spChg>
        <pc:grpChg chg="add mod">
          <ac:chgData name="Thomas Stensitzki" userId="75cafe6b-2f2a-469b-85c4-eec3b9c972ba" providerId="ADAL" clId="{06E14ABF-FC4C-4B98-B2A4-DF762ED946F2}" dt="2019-04-02T19:55:27.242" v="3165" actId="164"/>
          <ac:grpSpMkLst>
            <pc:docMk/>
            <pc:sldMk cId="3295375751" sldId="284"/>
            <ac:grpSpMk id="3" creationId="{A2850779-A0DF-4268-864A-7FC8EFE93588}"/>
          </ac:grpSpMkLst>
        </pc:grpChg>
        <pc:grpChg chg="add mod">
          <ac:chgData name="Thomas Stensitzki" userId="75cafe6b-2f2a-469b-85c4-eec3b9c972ba" providerId="ADAL" clId="{06E14ABF-FC4C-4B98-B2A4-DF762ED946F2}" dt="2019-04-02T19:55:30.398" v="3166" actId="164"/>
          <ac:grpSpMkLst>
            <pc:docMk/>
            <pc:sldMk cId="3295375751" sldId="284"/>
            <ac:grpSpMk id="5" creationId="{0C5E8E26-497C-4C51-9175-5915C42B8928}"/>
          </ac:grpSpMkLst>
        </pc:grpChg>
        <pc:grpChg chg="mod">
          <ac:chgData name="Thomas Stensitzki" userId="75cafe6b-2f2a-469b-85c4-eec3b9c972ba" providerId="ADAL" clId="{06E14ABF-FC4C-4B98-B2A4-DF762ED946F2}" dt="2019-04-02T19:55:30.398" v="3166" actId="164"/>
          <ac:grpSpMkLst>
            <pc:docMk/>
            <pc:sldMk cId="3295375751" sldId="284"/>
            <ac:grpSpMk id="13" creationId="{228B5D5D-FDAA-488C-BAEA-52F6D1D1A349}"/>
          </ac:grpSpMkLst>
        </pc:grpChg>
        <pc:grpChg chg="mod">
          <ac:chgData name="Thomas Stensitzki" userId="75cafe6b-2f2a-469b-85c4-eec3b9c972ba" providerId="ADAL" clId="{06E14ABF-FC4C-4B98-B2A4-DF762ED946F2}" dt="2019-04-02T19:55:27.242" v="3165" actId="164"/>
          <ac:grpSpMkLst>
            <pc:docMk/>
            <pc:sldMk cId="3295375751" sldId="284"/>
            <ac:grpSpMk id="16" creationId="{0F3A16C1-E1A3-4BBA-A931-A367AFF40D75}"/>
          </ac:grpSpMkLst>
        </pc:grpChg>
      </pc:sldChg>
      <pc:sldChg chg="modSp modNotes">
        <pc:chgData name="Thomas Stensitzki" userId="75cafe6b-2f2a-469b-85c4-eec3b9c972ba" providerId="ADAL" clId="{06E14ABF-FC4C-4B98-B2A4-DF762ED946F2}" dt="2019-04-02T17:26:05.218" v="1070" actId="790"/>
        <pc:sldMkLst>
          <pc:docMk/>
          <pc:sldMk cId="3531332204" sldId="285"/>
        </pc:sldMkLst>
        <pc:spChg chg="mod">
          <ac:chgData name="Thomas Stensitzki" userId="75cafe6b-2f2a-469b-85c4-eec3b9c972ba" providerId="ADAL" clId="{06E14ABF-FC4C-4B98-B2A4-DF762ED946F2}" dt="2019-04-02T17:26:05.210" v="1067" actId="790"/>
          <ac:spMkLst>
            <pc:docMk/>
            <pc:sldMk cId="3531332204" sldId="285"/>
            <ac:spMk id="5" creationId="{8DFF3C50-4326-4090-9563-39166FAE160D}"/>
          </ac:spMkLst>
        </pc:spChg>
        <pc:spChg chg="mod">
          <ac:chgData name="Thomas Stensitzki" userId="75cafe6b-2f2a-469b-85c4-eec3b9c972ba" providerId="ADAL" clId="{06E14ABF-FC4C-4B98-B2A4-DF762ED946F2}" dt="2019-04-02T17:26:05.213" v="1068" actId="790"/>
          <ac:spMkLst>
            <pc:docMk/>
            <pc:sldMk cId="3531332204" sldId="285"/>
            <ac:spMk id="6" creationId="{9D5FCE5E-BE6E-4AAA-BFE2-CADDE02D473C}"/>
          </ac:spMkLst>
        </pc:spChg>
      </pc:sldChg>
      <pc:sldChg chg="addSp modSp modAnim modNotes">
        <pc:chgData name="Thomas Stensitzki" userId="75cafe6b-2f2a-469b-85c4-eec3b9c972ba" providerId="ADAL" clId="{06E14ABF-FC4C-4B98-B2A4-DF762ED946F2}" dt="2019-04-02T19:55:21.452" v="3164" actId="164"/>
        <pc:sldMkLst>
          <pc:docMk/>
          <pc:sldMk cId="2572513754" sldId="286"/>
        </pc:sldMkLst>
        <pc:spChg chg="mod">
          <ac:chgData name="Thomas Stensitzki" userId="75cafe6b-2f2a-469b-85c4-eec3b9c972ba" providerId="ADAL" clId="{06E14ABF-FC4C-4B98-B2A4-DF762ED946F2}" dt="2019-04-02T17:26:05.220" v="1071" actId="790"/>
          <ac:spMkLst>
            <pc:docMk/>
            <pc:sldMk cId="2572513754" sldId="286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22" v="1072" actId="790"/>
          <ac:spMkLst>
            <pc:docMk/>
            <pc:sldMk cId="2572513754" sldId="286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9:55:07.463" v="3161" actId="164"/>
          <ac:spMkLst>
            <pc:docMk/>
            <pc:sldMk cId="2572513754" sldId="286"/>
            <ac:spMk id="9" creationId="{6A657B06-4764-4D8E-9D5B-0CBAB225C9D5}"/>
          </ac:spMkLst>
        </pc:spChg>
        <pc:spChg chg="mod">
          <ac:chgData name="Thomas Stensitzki" userId="75cafe6b-2f2a-469b-85c4-eec3b9c972ba" providerId="ADAL" clId="{06E14ABF-FC4C-4B98-B2A4-DF762ED946F2}" dt="2019-04-02T19:55:11.417" v="3162" actId="164"/>
          <ac:spMkLst>
            <pc:docMk/>
            <pc:sldMk cId="2572513754" sldId="286"/>
            <ac:spMk id="10" creationId="{D50396F0-ED50-46AA-AC8A-7E5053215AD3}"/>
          </ac:spMkLst>
        </pc:spChg>
        <pc:spChg chg="mod">
          <ac:chgData name="Thomas Stensitzki" userId="75cafe6b-2f2a-469b-85c4-eec3b9c972ba" providerId="ADAL" clId="{06E14ABF-FC4C-4B98-B2A4-DF762ED946F2}" dt="2019-04-02T19:55:15.915" v="3163" actId="164"/>
          <ac:spMkLst>
            <pc:docMk/>
            <pc:sldMk cId="2572513754" sldId="286"/>
            <ac:spMk id="11" creationId="{89E04351-525A-4C24-819F-B76A864665E0}"/>
          </ac:spMkLst>
        </pc:spChg>
        <pc:spChg chg="mod">
          <ac:chgData name="Thomas Stensitzki" userId="75cafe6b-2f2a-469b-85c4-eec3b9c972ba" providerId="ADAL" clId="{06E14ABF-FC4C-4B98-B2A4-DF762ED946F2}" dt="2019-04-02T19:55:21.452" v="3164" actId="164"/>
          <ac:spMkLst>
            <pc:docMk/>
            <pc:sldMk cId="2572513754" sldId="286"/>
            <ac:spMk id="12" creationId="{857619C1-8E4F-47DF-8BF7-080438FF52D1}"/>
          </ac:spMkLst>
        </pc:spChg>
        <pc:grpChg chg="add mod">
          <ac:chgData name="Thomas Stensitzki" userId="75cafe6b-2f2a-469b-85c4-eec3b9c972ba" providerId="ADAL" clId="{06E14ABF-FC4C-4B98-B2A4-DF762ED946F2}" dt="2019-04-02T19:55:07.463" v="3161" actId="164"/>
          <ac:grpSpMkLst>
            <pc:docMk/>
            <pc:sldMk cId="2572513754" sldId="286"/>
            <ac:grpSpMk id="3" creationId="{9E09BED0-6C09-4394-BCC9-2A9B99A26E88}"/>
          </ac:grpSpMkLst>
        </pc:grpChg>
        <pc:grpChg chg="add mod">
          <ac:chgData name="Thomas Stensitzki" userId="75cafe6b-2f2a-469b-85c4-eec3b9c972ba" providerId="ADAL" clId="{06E14ABF-FC4C-4B98-B2A4-DF762ED946F2}" dt="2019-04-02T19:55:11.417" v="3162" actId="164"/>
          <ac:grpSpMkLst>
            <pc:docMk/>
            <pc:sldMk cId="2572513754" sldId="286"/>
            <ac:grpSpMk id="13" creationId="{2C2F2596-8273-4867-A4E0-43DDF196B5CE}"/>
          </ac:grpSpMkLst>
        </pc:grpChg>
        <pc:grpChg chg="add mod">
          <ac:chgData name="Thomas Stensitzki" userId="75cafe6b-2f2a-469b-85c4-eec3b9c972ba" providerId="ADAL" clId="{06E14ABF-FC4C-4B98-B2A4-DF762ED946F2}" dt="2019-04-02T19:55:15.915" v="3163" actId="164"/>
          <ac:grpSpMkLst>
            <pc:docMk/>
            <pc:sldMk cId="2572513754" sldId="286"/>
            <ac:grpSpMk id="14" creationId="{D770057F-D943-4326-97C7-A3B9A642ABF3}"/>
          </ac:grpSpMkLst>
        </pc:grpChg>
        <pc:grpChg chg="add mod">
          <ac:chgData name="Thomas Stensitzki" userId="75cafe6b-2f2a-469b-85c4-eec3b9c972ba" providerId="ADAL" clId="{06E14ABF-FC4C-4B98-B2A4-DF762ED946F2}" dt="2019-04-02T19:55:21.452" v="3164" actId="164"/>
          <ac:grpSpMkLst>
            <pc:docMk/>
            <pc:sldMk cId="2572513754" sldId="286"/>
            <ac:grpSpMk id="15" creationId="{6EC01EBF-BBFE-49A8-8FC6-099D361AEF37}"/>
          </ac:grpSpMkLst>
        </pc:grpChg>
        <pc:picChg chg="mod">
          <ac:chgData name="Thomas Stensitzki" userId="75cafe6b-2f2a-469b-85c4-eec3b9c972ba" providerId="ADAL" clId="{06E14ABF-FC4C-4B98-B2A4-DF762ED946F2}" dt="2019-04-02T19:55:21.452" v="3164" actId="164"/>
          <ac:picMkLst>
            <pc:docMk/>
            <pc:sldMk cId="2572513754" sldId="286"/>
            <ac:picMk id="5" creationId="{007F7F51-56B5-4BFA-AFB0-7084762A0187}"/>
          </ac:picMkLst>
        </pc:picChg>
        <pc:picChg chg="mod">
          <ac:chgData name="Thomas Stensitzki" userId="75cafe6b-2f2a-469b-85c4-eec3b9c972ba" providerId="ADAL" clId="{06E14ABF-FC4C-4B98-B2A4-DF762ED946F2}" dt="2019-04-02T19:55:11.417" v="3162" actId="164"/>
          <ac:picMkLst>
            <pc:docMk/>
            <pc:sldMk cId="2572513754" sldId="286"/>
            <ac:picMk id="6" creationId="{F50379D1-416B-409C-864F-DA51FC038F2B}"/>
          </ac:picMkLst>
        </pc:picChg>
        <pc:picChg chg="mod">
          <ac:chgData name="Thomas Stensitzki" userId="75cafe6b-2f2a-469b-85c4-eec3b9c972ba" providerId="ADAL" clId="{06E14ABF-FC4C-4B98-B2A4-DF762ED946F2}" dt="2019-04-02T19:55:15.915" v="3163" actId="164"/>
          <ac:picMkLst>
            <pc:docMk/>
            <pc:sldMk cId="2572513754" sldId="286"/>
            <ac:picMk id="7" creationId="{F0380606-82E6-4380-B51E-F60F8CDAEDE3}"/>
          </ac:picMkLst>
        </pc:picChg>
        <pc:picChg chg="mod">
          <ac:chgData name="Thomas Stensitzki" userId="75cafe6b-2f2a-469b-85c4-eec3b9c972ba" providerId="ADAL" clId="{06E14ABF-FC4C-4B98-B2A4-DF762ED946F2}" dt="2019-04-02T19:55:07.463" v="3161" actId="164"/>
          <ac:picMkLst>
            <pc:docMk/>
            <pc:sldMk cId="2572513754" sldId="286"/>
            <ac:picMk id="8" creationId="{A874C571-2DDE-4D75-9253-ED16D25FD016}"/>
          </ac:picMkLst>
        </pc:picChg>
      </pc:sldChg>
      <pc:sldChg chg="addSp modSp modAnim modNotes">
        <pc:chgData name="Thomas Stensitzki" userId="75cafe6b-2f2a-469b-85c4-eec3b9c972ba" providerId="ADAL" clId="{06E14ABF-FC4C-4B98-B2A4-DF762ED946F2}" dt="2019-04-02T19:55:44.984" v="3168" actId="14100"/>
        <pc:sldMkLst>
          <pc:docMk/>
          <pc:sldMk cId="3746320788" sldId="287"/>
        </pc:sldMkLst>
        <pc:spChg chg="mod">
          <ac:chgData name="Thomas Stensitzki" userId="75cafe6b-2f2a-469b-85c4-eec3b9c972ba" providerId="ADAL" clId="{06E14ABF-FC4C-4B98-B2A4-DF762ED946F2}" dt="2019-04-02T17:26:05.263" v="1087" actId="790"/>
          <ac:spMkLst>
            <pc:docMk/>
            <pc:sldMk cId="3746320788" sldId="287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65" v="1088" actId="790"/>
          <ac:spMkLst>
            <pc:docMk/>
            <pc:sldMk cId="3746320788" sldId="287"/>
            <ac:spMk id="4" creationId="{00000000-0000-0000-0000-000000000000}"/>
          </ac:spMkLst>
        </pc:spChg>
        <pc:spChg chg="add mod">
          <ac:chgData name="Thomas Stensitzki" userId="75cafe6b-2f2a-469b-85c4-eec3b9c972ba" providerId="ADAL" clId="{06E14ABF-FC4C-4B98-B2A4-DF762ED946F2}" dt="2019-04-02T18:11:19.825" v="2134" actId="207"/>
          <ac:spMkLst>
            <pc:docMk/>
            <pc:sldMk cId="3746320788" sldId="287"/>
            <ac:spMk id="9" creationId="{D1821834-481A-4DBE-B40F-F13EF06B67E2}"/>
          </ac:spMkLst>
        </pc:spChg>
        <pc:spChg chg="mod">
          <ac:chgData name="Thomas Stensitzki" userId="75cafe6b-2f2a-469b-85c4-eec3b9c972ba" providerId="ADAL" clId="{06E14ABF-FC4C-4B98-B2A4-DF762ED946F2}" dt="2019-04-02T18:10:53.132" v="2126" actId="113"/>
          <ac:spMkLst>
            <pc:docMk/>
            <pc:sldMk cId="3746320788" sldId="287"/>
            <ac:spMk id="22" creationId="{EE9D4963-A7D7-436C-B50B-D2DFC97C0A65}"/>
          </ac:spMkLst>
        </pc:spChg>
        <pc:spChg chg="mod">
          <ac:chgData name="Thomas Stensitzki" userId="75cafe6b-2f2a-469b-85c4-eec3b9c972ba" providerId="ADAL" clId="{06E14ABF-FC4C-4B98-B2A4-DF762ED946F2}" dt="2019-04-02T19:55:44.984" v="3168" actId="14100"/>
          <ac:spMkLst>
            <pc:docMk/>
            <pc:sldMk cId="3746320788" sldId="287"/>
            <ac:spMk id="24" creationId="{4428AD4D-3546-48C9-9328-75F6DF9BC959}"/>
          </ac:spMkLst>
        </pc:spChg>
      </pc:sldChg>
      <pc:sldChg chg="modSp modNotes">
        <pc:chgData name="Thomas Stensitzki" userId="75cafe6b-2f2a-469b-85c4-eec3b9c972ba" providerId="ADAL" clId="{06E14ABF-FC4C-4B98-B2A4-DF762ED946F2}" dt="2019-04-02T18:22:41.676" v="2779" actId="113"/>
        <pc:sldMkLst>
          <pc:docMk/>
          <pc:sldMk cId="3049271955" sldId="288"/>
        </pc:sldMkLst>
        <pc:spChg chg="mod">
          <ac:chgData name="Thomas Stensitzki" userId="75cafe6b-2f2a-469b-85c4-eec3b9c972ba" providerId="ADAL" clId="{06E14ABF-FC4C-4B98-B2A4-DF762ED946F2}" dt="2019-04-02T17:26:05.276" v="1093" actId="790"/>
          <ac:spMkLst>
            <pc:docMk/>
            <pc:sldMk cId="3049271955" sldId="288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8:22:41.676" v="2779" actId="113"/>
          <ac:spMkLst>
            <pc:docMk/>
            <pc:sldMk cId="3049271955" sldId="288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87" v="1095" actId="790"/>
          <ac:spMkLst>
            <pc:docMk/>
            <pc:sldMk cId="3049271955" sldId="288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41:58.981" v="1668" actId="1076"/>
          <ac:spMkLst>
            <pc:docMk/>
            <pc:sldMk cId="3049271955" sldId="288"/>
            <ac:spMk id="6" creationId="{4E5461E9-A8AB-4A5B-8526-DDFD4C63C783}"/>
          </ac:spMkLst>
        </pc:spChg>
        <pc:spChg chg="mod">
          <ac:chgData name="Thomas Stensitzki" userId="75cafe6b-2f2a-469b-85c4-eec3b9c972ba" providerId="ADAL" clId="{06E14ABF-FC4C-4B98-B2A4-DF762ED946F2}" dt="2019-04-02T17:42:08.142" v="1670" actId="1076"/>
          <ac:spMkLst>
            <pc:docMk/>
            <pc:sldMk cId="3049271955" sldId="288"/>
            <ac:spMk id="8" creationId="{376A0A1D-68E9-4F59-A2B0-C43C09D8D130}"/>
          </ac:spMkLst>
        </pc:spChg>
        <pc:spChg chg="mod">
          <ac:chgData name="Thomas Stensitzki" userId="75cafe6b-2f2a-469b-85c4-eec3b9c972ba" providerId="ADAL" clId="{06E14ABF-FC4C-4B98-B2A4-DF762ED946F2}" dt="2019-04-02T17:43:16.279" v="1687" actId="1076"/>
          <ac:spMkLst>
            <pc:docMk/>
            <pc:sldMk cId="3049271955" sldId="288"/>
            <ac:spMk id="10" creationId="{92BC81D2-6FB2-4CE1-ABA3-02A4627BB668}"/>
          </ac:spMkLst>
        </pc:spChg>
        <pc:graphicFrameChg chg="mod modGraphic">
          <ac:chgData name="Thomas Stensitzki" userId="75cafe6b-2f2a-469b-85c4-eec3b9c972ba" providerId="ADAL" clId="{06E14ABF-FC4C-4B98-B2A4-DF762ED946F2}" dt="2019-04-02T17:42:53.641" v="1676" actId="20577"/>
          <ac:graphicFrameMkLst>
            <pc:docMk/>
            <pc:sldMk cId="3049271955" sldId="288"/>
            <ac:graphicFrameMk id="5" creationId="{8D3CCCD3-0610-433F-B417-4C78AC156724}"/>
          </ac:graphicFrameMkLst>
        </pc:graphicFrameChg>
        <pc:graphicFrameChg chg="mod modGraphic">
          <ac:chgData name="Thomas Stensitzki" userId="75cafe6b-2f2a-469b-85c4-eec3b9c972ba" providerId="ADAL" clId="{06E14ABF-FC4C-4B98-B2A4-DF762ED946F2}" dt="2019-04-02T17:42:59.716" v="1678" actId="6549"/>
          <ac:graphicFrameMkLst>
            <pc:docMk/>
            <pc:sldMk cId="3049271955" sldId="288"/>
            <ac:graphicFrameMk id="7" creationId="{3488B4B5-5699-4B3A-B54F-FE5F013A84F2}"/>
          </ac:graphicFrameMkLst>
        </pc:graphicFrameChg>
        <pc:graphicFrameChg chg="modGraphic">
          <ac:chgData name="Thomas Stensitzki" userId="75cafe6b-2f2a-469b-85c4-eec3b9c972ba" providerId="ADAL" clId="{06E14ABF-FC4C-4B98-B2A4-DF762ED946F2}" dt="2019-04-02T17:43:03.538" v="1680" actId="6549"/>
          <ac:graphicFrameMkLst>
            <pc:docMk/>
            <pc:sldMk cId="3049271955" sldId="288"/>
            <ac:graphicFrameMk id="9" creationId="{4C7E3001-4E7A-45D2-9A3F-62F0818042CC}"/>
          </ac:graphicFrameMkLst>
        </pc:graphicFrameChg>
      </pc:sldChg>
      <pc:sldChg chg="modSp modNotes modNotesTx">
        <pc:chgData name="Thomas Stensitzki" userId="75cafe6b-2f2a-469b-85c4-eec3b9c972ba" providerId="ADAL" clId="{06E14ABF-FC4C-4B98-B2A4-DF762ED946F2}" dt="2019-04-02T19:56:10.460" v="3170" actId="27636"/>
        <pc:sldMkLst>
          <pc:docMk/>
          <pc:sldMk cId="3468189571" sldId="289"/>
        </pc:sldMkLst>
        <pc:spChg chg="mod">
          <ac:chgData name="Thomas Stensitzki" userId="75cafe6b-2f2a-469b-85c4-eec3b9c972ba" providerId="ADAL" clId="{06E14ABF-FC4C-4B98-B2A4-DF762ED946F2}" dt="2019-04-02T17:26:05.356" v="1134" actId="790"/>
          <ac:spMkLst>
            <pc:docMk/>
            <pc:sldMk cId="3468189571" sldId="289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9:56:10.460" v="3170" actId="27636"/>
          <ac:spMkLst>
            <pc:docMk/>
            <pc:sldMk cId="3468189571" sldId="289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372" v="1136" actId="790"/>
          <ac:spMkLst>
            <pc:docMk/>
            <pc:sldMk cId="3468189571" sldId="289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374" v="1137" actId="790"/>
          <ac:spMkLst>
            <pc:docMk/>
            <pc:sldMk cId="3468189571" sldId="289"/>
            <ac:spMk id="5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8:15:29.515" v="2531" actId="6549"/>
        <pc:sldMkLst>
          <pc:docMk/>
          <pc:sldMk cId="2722891500" sldId="290"/>
        </pc:sldMkLst>
        <pc:spChg chg="mod">
          <ac:chgData name="Thomas Stensitzki" userId="75cafe6b-2f2a-469b-85c4-eec3b9c972ba" providerId="ADAL" clId="{06E14ABF-FC4C-4B98-B2A4-DF762ED946F2}" dt="2019-04-02T17:26:05.381" v="1140" actId="790"/>
          <ac:spMkLst>
            <pc:docMk/>
            <pc:sldMk cId="2722891500" sldId="290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383" v="1141" actId="790"/>
          <ac:spMkLst>
            <pc:docMk/>
            <pc:sldMk cId="2722891500" sldId="290"/>
            <ac:spMk id="4" creationId="{00000000-0000-0000-0000-000000000000}"/>
          </ac:spMkLst>
        </pc:spChg>
        <pc:graphicFrameChg chg="modGraphic">
          <ac:chgData name="Thomas Stensitzki" userId="75cafe6b-2f2a-469b-85c4-eec3b9c972ba" providerId="ADAL" clId="{06E14ABF-FC4C-4B98-B2A4-DF762ED946F2}" dt="2019-04-02T18:15:29.515" v="2531" actId="6549"/>
          <ac:graphicFrameMkLst>
            <pc:docMk/>
            <pc:sldMk cId="2722891500" sldId="290"/>
            <ac:graphicFrameMk id="5" creationId="{72FCE2C9-019F-44A9-BCB7-5D6006A18818}"/>
          </ac:graphicFrameMkLst>
        </pc:graphicFrameChg>
      </pc:sldChg>
      <pc:sldChg chg="modSp modNotes">
        <pc:chgData name="Thomas Stensitzki" userId="75cafe6b-2f2a-469b-85c4-eec3b9c972ba" providerId="ADAL" clId="{06E14ABF-FC4C-4B98-B2A4-DF762ED946F2}" dt="2019-04-02T20:02:11.635" v="3632" actId="6549"/>
        <pc:sldMkLst>
          <pc:docMk/>
          <pc:sldMk cId="615471493" sldId="291"/>
        </pc:sldMkLst>
        <pc:spChg chg="mod">
          <ac:chgData name="Thomas Stensitzki" userId="75cafe6b-2f2a-469b-85c4-eec3b9c972ba" providerId="ADAL" clId="{06E14ABF-FC4C-4B98-B2A4-DF762ED946F2}" dt="2019-04-02T17:26:05.419" v="1156" actId="790"/>
          <ac:spMkLst>
            <pc:docMk/>
            <pc:sldMk cId="615471493" sldId="291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20:02:11.635" v="3632" actId="6549"/>
          <ac:spMkLst>
            <pc:docMk/>
            <pc:sldMk cId="615471493" sldId="291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441" v="1158" actId="790"/>
          <ac:spMkLst>
            <pc:docMk/>
            <pc:sldMk cId="615471493" sldId="291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8:16:34.950" v="2607" actId="113"/>
          <ac:spMkLst>
            <pc:docMk/>
            <pc:sldMk cId="615471493" sldId="291"/>
            <ac:spMk id="5" creationId="{61A8CEEB-04A7-4E2C-A326-8BDA78997065}"/>
          </ac:spMkLst>
        </pc:spChg>
        <pc:spChg chg="mod">
          <ac:chgData name="Thomas Stensitzki" userId="75cafe6b-2f2a-469b-85c4-eec3b9c972ba" providerId="ADAL" clId="{06E14ABF-FC4C-4B98-B2A4-DF762ED946F2}" dt="2019-04-02T17:26:05.450" v="1160" actId="790"/>
          <ac:spMkLst>
            <pc:docMk/>
            <pc:sldMk cId="615471493" sldId="291"/>
            <ac:spMk id="6" creationId="{955176E7-45C7-44B9-BE12-95D572909CF1}"/>
          </ac:spMkLst>
        </pc:spChg>
        <pc:spChg chg="mod">
          <ac:chgData name="Thomas Stensitzki" userId="75cafe6b-2f2a-469b-85c4-eec3b9c972ba" providerId="ADAL" clId="{06E14ABF-FC4C-4B98-B2A4-DF762ED946F2}" dt="2019-04-02T17:26:05.452" v="1161" actId="790"/>
          <ac:spMkLst>
            <pc:docMk/>
            <pc:sldMk cId="615471493" sldId="291"/>
            <ac:spMk id="7" creationId="{F9626815-9916-4493-A1C9-48E602A927EE}"/>
          </ac:spMkLst>
        </pc:spChg>
        <pc:spChg chg="mod">
          <ac:chgData name="Thomas Stensitzki" userId="75cafe6b-2f2a-469b-85c4-eec3b9c972ba" providerId="ADAL" clId="{06E14ABF-FC4C-4B98-B2A4-DF762ED946F2}" dt="2019-04-02T18:16:40.079" v="2609" actId="113"/>
          <ac:spMkLst>
            <pc:docMk/>
            <pc:sldMk cId="615471493" sldId="291"/>
            <ac:spMk id="8" creationId="{95331F01-7489-49EF-9556-7D2C61FFCC94}"/>
          </ac:spMkLst>
        </pc:spChg>
        <pc:spChg chg="mod">
          <ac:chgData name="Thomas Stensitzki" userId="75cafe6b-2f2a-469b-85c4-eec3b9c972ba" providerId="ADAL" clId="{06E14ABF-FC4C-4B98-B2A4-DF762ED946F2}" dt="2019-04-02T18:16:43.669" v="2611" actId="113"/>
          <ac:spMkLst>
            <pc:docMk/>
            <pc:sldMk cId="615471493" sldId="291"/>
            <ac:spMk id="9" creationId="{5A8AA5CD-82D8-484C-8FDB-1C1500A3F10D}"/>
          </ac:spMkLst>
        </pc:spChg>
        <pc:spChg chg="mod">
          <ac:chgData name="Thomas Stensitzki" userId="75cafe6b-2f2a-469b-85c4-eec3b9c972ba" providerId="ADAL" clId="{06E14ABF-FC4C-4B98-B2A4-DF762ED946F2}" dt="2019-04-02T17:26:05.464" v="1164"/>
          <ac:spMkLst>
            <pc:docMk/>
            <pc:sldMk cId="615471493" sldId="291"/>
            <ac:spMk id="10" creationId="{F670CA35-04ED-47D7-A76D-881E5E867656}"/>
          </ac:spMkLst>
        </pc:spChg>
        <pc:spChg chg="mod">
          <ac:chgData name="Thomas Stensitzki" userId="75cafe6b-2f2a-469b-85c4-eec3b9c972ba" providerId="ADAL" clId="{06E14ABF-FC4C-4B98-B2A4-DF762ED946F2}" dt="2019-04-02T17:26:05.465" v="1165"/>
          <ac:spMkLst>
            <pc:docMk/>
            <pc:sldMk cId="615471493" sldId="291"/>
            <ac:spMk id="11" creationId="{2032AB6F-B021-4BF0-897E-5B3BB7C14704}"/>
          </ac:spMkLst>
        </pc:spChg>
        <pc:spChg chg="mod">
          <ac:chgData name="Thomas Stensitzki" userId="75cafe6b-2f2a-469b-85c4-eec3b9c972ba" providerId="ADAL" clId="{06E14ABF-FC4C-4B98-B2A4-DF762ED946F2}" dt="2019-04-02T17:26:05.466" v="1166"/>
          <ac:spMkLst>
            <pc:docMk/>
            <pc:sldMk cId="615471493" sldId="291"/>
            <ac:spMk id="12" creationId="{707F3A51-6463-4953-981B-FAB4AAB83A70}"/>
          </ac:spMkLst>
        </pc:spChg>
        <pc:spChg chg="mod">
          <ac:chgData name="Thomas Stensitzki" userId="75cafe6b-2f2a-469b-85c4-eec3b9c972ba" providerId="ADAL" clId="{06E14ABF-FC4C-4B98-B2A4-DF762ED946F2}" dt="2019-04-02T17:26:05.468" v="1167"/>
          <ac:spMkLst>
            <pc:docMk/>
            <pc:sldMk cId="615471493" sldId="291"/>
            <ac:spMk id="15" creationId="{1866AE48-5404-46BA-8F14-02C73A639014}"/>
          </ac:spMkLst>
        </pc:spChg>
        <pc:spChg chg="mod">
          <ac:chgData name="Thomas Stensitzki" userId="75cafe6b-2f2a-469b-85c4-eec3b9c972ba" providerId="ADAL" clId="{06E14ABF-FC4C-4B98-B2A4-DF762ED946F2}" dt="2019-04-02T17:26:05.469" v="1168"/>
          <ac:spMkLst>
            <pc:docMk/>
            <pc:sldMk cId="615471493" sldId="291"/>
            <ac:spMk id="16" creationId="{D1DF71F6-7E68-4636-BB2F-DCF2B36F77B3}"/>
          </ac:spMkLst>
        </pc:spChg>
        <pc:spChg chg="mod">
          <ac:chgData name="Thomas Stensitzki" userId="75cafe6b-2f2a-469b-85c4-eec3b9c972ba" providerId="ADAL" clId="{06E14ABF-FC4C-4B98-B2A4-DF762ED946F2}" dt="2019-04-02T17:26:05.471" v="1169"/>
          <ac:spMkLst>
            <pc:docMk/>
            <pc:sldMk cId="615471493" sldId="291"/>
            <ac:spMk id="17" creationId="{F685687A-8D22-4B25-ABE6-DCF2582F9116}"/>
          </ac:spMkLst>
        </pc:spChg>
        <pc:spChg chg="mod">
          <ac:chgData name="Thomas Stensitzki" userId="75cafe6b-2f2a-469b-85c4-eec3b9c972ba" providerId="ADAL" clId="{06E14ABF-FC4C-4B98-B2A4-DF762ED946F2}" dt="2019-04-02T17:26:05.472" v="1170"/>
          <ac:spMkLst>
            <pc:docMk/>
            <pc:sldMk cId="615471493" sldId="291"/>
            <ac:spMk id="20" creationId="{A6A4E310-2129-4C0D-86C1-E458ACE88862}"/>
          </ac:spMkLst>
        </pc:spChg>
        <pc:spChg chg="mod">
          <ac:chgData name="Thomas Stensitzki" userId="75cafe6b-2f2a-469b-85c4-eec3b9c972ba" providerId="ADAL" clId="{06E14ABF-FC4C-4B98-B2A4-DF762ED946F2}" dt="2019-04-02T17:26:05.474" v="1171"/>
          <ac:spMkLst>
            <pc:docMk/>
            <pc:sldMk cId="615471493" sldId="291"/>
            <ac:spMk id="21" creationId="{586FDDAC-82BE-4AD5-8EAA-8D69657E4D6E}"/>
          </ac:spMkLst>
        </pc:spChg>
      </pc:sldChg>
      <pc:sldChg chg="modSp modNotes">
        <pc:chgData name="Thomas Stensitzki" userId="75cafe6b-2f2a-469b-85c4-eec3b9c972ba" providerId="ADAL" clId="{06E14ABF-FC4C-4B98-B2A4-DF762ED946F2}" dt="2019-04-02T20:09:17.046" v="4184" actId="207"/>
        <pc:sldMkLst>
          <pc:docMk/>
          <pc:sldMk cId="197286884" sldId="292"/>
        </pc:sldMkLst>
        <pc:spChg chg="mod">
          <ac:chgData name="Thomas Stensitzki" userId="75cafe6b-2f2a-469b-85c4-eec3b9c972ba" providerId="ADAL" clId="{06E14ABF-FC4C-4B98-B2A4-DF762ED946F2}" dt="2019-04-02T17:26:05.481" v="1174" actId="790"/>
          <ac:spMkLst>
            <pc:docMk/>
            <pc:sldMk cId="197286884" sldId="292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20:09:17.046" v="4184" actId="207"/>
          <ac:spMkLst>
            <pc:docMk/>
            <pc:sldMk cId="197286884" sldId="292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498" v="1176" actId="790"/>
          <ac:spMkLst>
            <pc:docMk/>
            <pc:sldMk cId="197286884" sldId="292"/>
            <ac:spMk id="4" creationId="{00000000-0000-0000-0000-000000000000}"/>
          </ac:spMkLst>
        </pc:spChg>
      </pc:sldChg>
      <pc:sldChg chg="modSp modNotes modNotesTx">
        <pc:chgData name="Thomas Stensitzki" userId="75cafe6b-2f2a-469b-85c4-eec3b9c972ba" providerId="ADAL" clId="{06E14ABF-FC4C-4B98-B2A4-DF762ED946F2}" dt="2019-04-02T20:16:52.018" v="4736" actId="6549"/>
        <pc:sldMkLst>
          <pc:docMk/>
          <pc:sldMk cId="983307875" sldId="293"/>
        </pc:sldMkLst>
        <pc:spChg chg="mod">
          <ac:chgData name="Thomas Stensitzki" userId="75cafe6b-2f2a-469b-85c4-eec3b9c972ba" providerId="ADAL" clId="{06E14ABF-FC4C-4B98-B2A4-DF762ED946F2}" dt="2019-04-02T17:26:05.504" v="1179" actId="790"/>
          <ac:spMkLst>
            <pc:docMk/>
            <pc:sldMk cId="983307875" sldId="293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20:16:52.018" v="4736" actId="6549"/>
          <ac:spMkLst>
            <pc:docMk/>
            <pc:sldMk cId="983307875" sldId="293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521" v="1181" actId="790"/>
          <ac:spMkLst>
            <pc:docMk/>
            <pc:sldMk cId="983307875" sldId="293"/>
            <ac:spMk id="4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7:26:05.539" v="1188" actId="790"/>
        <pc:sldMkLst>
          <pc:docMk/>
          <pc:sldMk cId="2554480883" sldId="294"/>
        </pc:sldMkLst>
        <pc:spChg chg="mod">
          <ac:chgData name="Thomas Stensitzki" userId="75cafe6b-2f2a-469b-85c4-eec3b9c972ba" providerId="ADAL" clId="{06E14ABF-FC4C-4B98-B2A4-DF762ED946F2}" dt="2019-04-02T17:26:05.529" v="1184" actId="790"/>
          <ac:spMkLst>
            <pc:docMk/>
            <pc:sldMk cId="2554480883" sldId="294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532" v="1185" actId="790"/>
          <ac:spMkLst>
            <pc:docMk/>
            <pc:sldMk cId="2554480883" sldId="294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534" v="1186" actId="790"/>
          <ac:spMkLst>
            <pc:docMk/>
            <pc:sldMk cId="2554480883" sldId="294"/>
            <ac:spMk id="4" creationId="{00000000-0000-0000-0000-000000000000}"/>
          </ac:spMkLst>
        </pc:spChg>
      </pc:sldChg>
      <pc:sldChg chg="addSp delSp modSp add modNotes">
        <pc:chgData name="Thomas Stensitzki" userId="75cafe6b-2f2a-469b-85c4-eec3b9c972ba" providerId="ADAL" clId="{06E14ABF-FC4C-4B98-B2A4-DF762ED946F2}" dt="2019-04-03T17:24:54.400" v="6024" actId="6549"/>
        <pc:sldMkLst>
          <pc:docMk/>
          <pc:sldMk cId="3381329992" sldId="295"/>
        </pc:sldMkLst>
        <pc:spChg chg="del">
          <ac:chgData name="Thomas Stensitzki" userId="75cafe6b-2f2a-469b-85c4-eec3b9c972ba" providerId="ADAL" clId="{06E14ABF-FC4C-4B98-B2A4-DF762ED946F2}" dt="2019-04-02T17:20:38.484" v="773"/>
          <ac:spMkLst>
            <pc:docMk/>
            <pc:sldMk cId="3381329992" sldId="295"/>
            <ac:spMk id="2" creationId="{AB5198ED-F51C-4B28-B98E-E18AD827BCB8}"/>
          </ac:spMkLst>
        </pc:spChg>
        <pc:spChg chg="del">
          <ac:chgData name="Thomas Stensitzki" userId="75cafe6b-2f2a-469b-85c4-eec3b9c972ba" providerId="ADAL" clId="{06E14ABF-FC4C-4B98-B2A4-DF762ED946F2}" dt="2019-04-02T17:20:38.484" v="773"/>
          <ac:spMkLst>
            <pc:docMk/>
            <pc:sldMk cId="3381329992" sldId="295"/>
            <ac:spMk id="3" creationId="{5014A673-88EF-4B84-B786-0F60EC4EE257}"/>
          </ac:spMkLst>
        </pc:spChg>
        <pc:spChg chg="add mod">
          <ac:chgData name="Thomas Stensitzki" userId="75cafe6b-2f2a-469b-85c4-eec3b9c972ba" providerId="ADAL" clId="{06E14ABF-FC4C-4B98-B2A4-DF762ED946F2}" dt="2019-04-02T17:26:05.551" v="1193" actId="790"/>
          <ac:spMkLst>
            <pc:docMk/>
            <pc:sldMk cId="3381329992" sldId="295"/>
            <ac:spMk id="4" creationId="{F4E8168C-86D8-4764-974B-139AA233729C}"/>
          </ac:spMkLst>
        </pc:spChg>
        <pc:spChg chg="add mod">
          <ac:chgData name="Thomas Stensitzki" userId="75cafe6b-2f2a-469b-85c4-eec3b9c972ba" providerId="ADAL" clId="{06E14ABF-FC4C-4B98-B2A4-DF762ED946F2}" dt="2019-04-03T17:24:54.400" v="6024" actId="6549"/>
          <ac:spMkLst>
            <pc:docMk/>
            <pc:sldMk cId="3381329992" sldId="295"/>
            <ac:spMk id="5" creationId="{61BEA58E-DFFC-4110-AFCE-5D2631A90CDA}"/>
          </ac:spMkLst>
        </pc:spChg>
        <pc:spChg chg="add mod">
          <ac:chgData name="Thomas Stensitzki" userId="75cafe6b-2f2a-469b-85c4-eec3b9c972ba" providerId="ADAL" clId="{06E14ABF-FC4C-4B98-B2A4-DF762ED946F2}" dt="2019-04-02T17:26:05.567" v="1195" actId="790"/>
          <ac:spMkLst>
            <pc:docMk/>
            <pc:sldMk cId="3381329992" sldId="295"/>
            <ac:spMk id="6" creationId="{13543927-97F9-4ACA-A09F-405445E1E291}"/>
          </ac:spMkLst>
        </pc:spChg>
      </pc:sldChg>
      <pc:sldChg chg="modSp add modNotes">
        <pc:chgData name="Thomas Stensitzki" userId="75cafe6b-2f2a-469b-85c4-eec3b9c972ba" providerId="ADAL" clId="{06E14ABF-FC4C-4B98-B2A4-DF762ED946F2}" dt="2019-04-02T20:23:42.013" v="5245" actId="6549"/>
        <pc:sldMkLst>
          <pc:docMk/>
          <pc:sldMk cId="759766632" sldId="296"/>
        </pc:sldMkLst>
        <pc:spChg chg="mod">
          <ac:chgData name="Thomas Stensitzki" userId="75cafe6b-2f2a-469b-85c4-eec3b9c972ba" providerId="ADAL" clId="{06E14ABF-FC4C-4B98-B2A4-DF762ED946F2}" dt="2019-04-02T17:26:05.575" v="1198" actId="790"/>
          <ac:spMkLst>
            <pc:docMk/>
            <pc:sldMk cId="759766632" sldId="296"/>
            <ac:spMk id="4" creationId="{F4E8168C-86D8-4764-974B-139AA233729C}"/>
          </ac:spMkLst>
        </pc:spChg>
        <pc:spChg chg="mod">
          <ac:chgData name="Thomas Stensitzki" userId="75cafe6b-2f2a-469b-85c4-eec3b9c972ba" providerId="ADAL" clId="{06E14ABF-FC4C-4B98-B2A4-DF762ED946F2}" dt="2019-04-02T20:23:42.013" v="5245" actId="6549"/>
          <ac:spMkLst>
            <pc:docMk/>
            <pc:sldMk cId="759766632" sldId="296"/>
            <ac:spMk id="5" creationId="{61BEA58E-DFFC-4110-AFCE-5D2631A90CDA}"/>
          </ac:spMkLst>
        </pc:spChg>
        <pc:spChg chg="mod">
          <ac:chgData name="Thomas Stensitzki" userId="75cafe6b-2f2a-469b-85c4-eec3b9c972ba" providerId="ADAL" clId="{06E14ABF-FC4C-4B98-B2A4-DF762ED946F2}" dt="2019-04-02T17:26:05.587" v="1200" actId="790"/>
          <ac:spMkLst>
            <pc:docMk/>
            <pc:sldMk cId="759766632" sldId="296"/>
            <ac:spMk id="6" creationId="{13543927-97F9-4ACA-A09F-405445E1E291}"/>
          </ac:spMkLst>
        </pc:spChg>
      </pc:sldChg>
      <pc:sldChg chg="modSp add modNotes">
        <pc:chgData name="Thomas Stensitzki" userId="75cafe6b-2f2a-469b-85c4-eec3b9c972ba" providerId="ADAL" clId="{06E14ABF-FC4C-4B98-B2A4-DF762ED946F2}" dt="2019-04-02T20:27:35.571" v="5402" actId="114"/>
        <pc:sldMkLst>
          <pc:docMk/>
          <pc:sldMk cId="1044294694" sldId="297"/>
        </pc:sldMkLst>
        <pc:spChg chg="mod">
          <ac:chgData name="Thomas Stensitzki" userId="75cafe6b-2f2a-469b-85c4-eec3b9c972ba" providerId="ADAL" clId="{06E14ABF-FC4C-4B98-B2A4-DF762ED946F2}" dt="2019-04-02T17:26:05.594" v="1203" actId="790"/>
          <ac:spMkLst>
            <pc:docMk/>
            <pc:sldMk cId="1044294694" sldId="297"/>
            <ac:spMk id="2" creationId="{67557B84-7964-4E8C-99E8-869B5367454A}"/>
          </ac:spMkLst>
        </pc:spChg>
        <pc:spChg chg="mod">
          <ac:chgData name="Thomas Stensitzki" userId="75cafe6b-2f2a-469b-85c4-eec3b9c972ba" providerId="ADAL" clId="{06E14ABF-FC4C-4B98-B2A4-DF762ED946F2}" dt="2019-04-02T20:27:35.571" v="5402" actId="114"/>
          <ac:spMkLst>
            <pc:docMk/>
            <pc:sldMk cId="1044294694" sldId="297"/>
            <ac:spMk id="3" creationId="{82E5BAEE-3E2D-4A96-9FB8-4368335D0814}"/>
          </ac:spMkLst>
        </pc:spChg>
        <pc:spChg chg="mod">
          <ac:chgData name="Thomas Stensitzki" userId="75cafe6b-2f2a-469b-85c4-eec3b9c972ba" providerId="ADAL" clId="{06E14ABF-FC4C-4B98-B2A4-DF762ED946F2}" dt="2019-04-02T17:26:05.602" v="1205" actId="790"/>
          <ac:spMkLst>
            <pc:docMk/>
            <pc:sldMk cId="1044294694" sldId="297"/>
            <ac:spMk id="4" creationId="{CB5F7625-39B3-42C6-A622-9F45CF6A4AEC}"/>
          </ac:spMkLst>
        </pc:spChg>
      </pc:sldChg>
      <pc:sldChg chg="modSp add modNotes">
        <pc:chgData name="Thomas Stensitzki" userId="75cafe6b-2f2a-469b-85c4-eec3b9c972ba" providerId="ADAL" clId="{06E14ABF-FC4C-4B98-B2A4-DF762ED946F2}" dt="2019-04-02T20:32:26.674" v="6014" actId="6549"/>
        <pc:sldMkLst>
          <pc:docMk/>
          <pc:sldMk cId="4146826759" sldId="298"/>
        </pc:sldMkLst>
        <pc:spChg chg="mod">
          <ac:chgData name="Thomas Stensitzki" userId="75cafe6b-2f2a-469b-85c4-eec3b9c972ba" providerId="ADAL" clId="{06E14ABF-FC4C-4B98-B2A4-DF762ED946F2}" dt="2019-04-02T17:26:05.610" v="1208" actId="790"/>
          <ac:spMkLst>
            <pc:docMk/>
            <pc:sldMk cId="4146826759" sldId="298"/>
            <ac:spMk id="2" creationId="{0B44876A-D8F8-4F3E-BB4D-D6A45D3598CE}"/>
          </ac:spMkLst>
        </pc:spChg>
        <pc:spChg chg="mod">
          <ac:chgData name="Thomas Stensitzki" userId="75cafe6b-2f2a-469b-85c4-eec3b9c972ba" providerId="ADAL" clId="{06E14ABF-FC4C-4B98-B2A4-DF762ED946F2}" dt="2019-04-02T20:32:26.674" v="6014" actId="6549"/>
          <ac:spMkLst>
            <pc:docMk/>
            <pc:sldMk cId="4146826759" sldId="298"/>
            <ac:spMk id="3" creationId="{B8580189-4D05-4205-B50C-7CECD16F0152}"/>
          </ac:spMkLst>
        </pc:spChg>
        <pc:spChg chg="mod">
          <ac:chgData name="Thomas Stensitzki" userId="75cafe6b-2f2a-469b-85c4-eec3b9c972ba" providerId="ADAL" clId="{06E14ABF-FC4C-4B98-B2A4-DF762ED946F2}" dt="2019-04-02T17:26:05.627" v="1210" actId="790"/>
          <ac:spMkLst>
            <pc:docMk/>
            <pc:sldMk cId="4146826759" sldId="298"/>
            <ac:spMk id="4" creationId="{50A5B977-E1C4-40BB-A647-64DB6D6089C7}"/>
          </ac:spMkLst>
        </pc:spChg>
      </pc:sldChg>
      <pc:sldChg chg="modSp add">
        <pc:chgData name="Thomas Stensitzki" userId="75cafe6b-2f2a-469b-85c4-eec3b9c972ba" providerId="ADAL" clId="{06E14ABF-FC4C-4B98-B2A4-DF762ED946F2}" dt="2019-04-02T17:28:17.209" v="1246"/>
        <pc:sldMkLst>
          <pc:docMk/>
          <pc:sldMk cId="887372333" sldId="299"/>
        </pc:sldMkLst>
        <pc:spChg chg="mod">
          <ac:chgData name="Thomas Stensitzki" userId="75cafe6b-2f2a-469b-85c4-eec3b9c972ba" providerId="ADAL" clId="{06E14ABF-FC4C-4B98-B2A4-DF762ED946F2}" dt="2019-04-02T17:28:08.224" v="1245" actId="20577"/>
          <ac:spMkLst>
            <pc:docMk/>
            <pc:sldMk cId="887372333" sldId="299"/>
            <ac:spMk id="2" creationId="{E97F6622-98C7-4F70-8DFC-DC9218D763B8}"/>
          </ac:spMkLst>
        </pc:spChg>
        <pc:spChg chg="mod">
          <ac:chgData name="Thomas Stensitzki" userId="75cafe6b-2f2a-469b-85c4-eec3b9c972ba" providerId="ADAL" clId="{06E14ABF-FC4C-4B98-B2A4-DF762ED946F2}" dt="2019-04-02T17:28:17.209" v="1246"/>
          <ac:spMkLst>
            <pc:docMk/>
            <pc:sldMk cId="887372333" sldId="299"/>
            <ac:spMk id="3" creationId="{9FD72DDF-88A9-4311-B841-AAB5B5F54ECA}"/>
          </ac:spMkLst>
        </pc:spChg>
      </pc:sldChg>
      <pc:sldChg chg="addSp delSp modSp add modAnim">
        <pc:chgData name="Thomas Stensitzki" userId="75cafe6b-2f2a-469b-85c4-eec3b9c972ba" providerId="ADAL" clId="{06E14ABF-FC4C-4B98-B2A4-DF762ED946F2}" dt="2019-04-02T17:31:18.306" v="1326" actId="207"/>
        <pc:sldMkLst>
          <pc:docMk/>
          <pc:sldMk cId="2170765889" sldId="300"/>
        </pc:sldMkLst>
        <pc:spChg chg="mod">
          <ac:chgData name="Thomas Stensitzki" userId="75cafe6b-2f2a-469b-85c4-eec3b9c972ba" providerId="ADAL" clId="{06E14ABF-FC4C-4B98-B2A4-DF762ED946F2}" dt="2019-04-02T17:30:39.017" v="1290" actId="20577"/>
          <ac:spMkLst>
            <pc:docMk/>
            <pc:sldMk cId="2170765889" sldId="300"/>
            <ac:spMk id="2" creationId="{FCD1E8AB-75DE-4796-A772-404B2AF1A0BC}"/>
          </ac:spMkLst>
        </pc:spChg>
        <pc:spChg chg="del">
          <ac:chgData name="Thomas Stensitzki" userId="75cafe6b-2f2a-469b-85c4-eec3b9c972ba" providerId="ADAL" clId="{06E14ABF-FC4C-4B98-B2A4-DF762ED946F2}" dt="2019-04-02T17:30:55.707" v="1324" actId="478"/>
          <ac:spMkLst>
            <pc:docMk/>
            <pc:sldMk cId="2170765889" sldId="300"/>
            <ac:spMk id="3" creationId="{FCFCA490-F41D-4D1E-90C1-BD8731EC30AE}"/>
          </ac:spMkLst>
        </pc:spChg>
        <pc:spChg chg="mod">
          <ac:chgData name="Thomas Stensitzki" userId="75cafe6b-2f2a-469b-85c4-eec3b9c972ba" providerId="ADAL" clId="{06E14ABF-FC4C-4B98-B2A4-DF762ED946F2}" dt="2019-04-02T17:30:51.802" v="1323" actId="20577"/>
          <ac:spMkLst>
            <pc:docMk/>
            <pc:sldMk cId="2170765889" sldId="300"/>
            <ac:spMk id="4" creationId="{3F298FCD-C00F-4DC6-BAE9-5E2A229F1D0C}"/>
          </ac:spMkLst>
        </pc:spChg>
        <pc:spChg chg="add mod">
          <ac:chgData name="Thomas Stensitzki" userId="75cafe6b-2f2a-469b-85c4-eec3b9c972ba" providerId="ADAL" clId="{06E14ABF-FC4C-4B98-B2A4-DF762ED946F2}" dt="2019-04-02T17:31:18.306" v="1326" actId="207"/>
          <ac:spMkLst>
            <pc:docMk/>
            <pc:sldMk cId="2170765889" sldId="300"/>
            <ac:spMk id="6" creationId="{F9F5E7E9-8474-4A1E-AE05-65D2CD7E7A69}"/>
          </ac:spMkLst>
        </pc:spChg>
        <pc:spChg chg="add mod">
          <ac:chgData name="Thomas Stensitzki" userId="75cafe6b-2f2a-469b-85c4-eec3b9c972ba" providerId="ADAL" clId="{06E14ABF-FC4C-4B98-B2A4-DF762ED946F2}" dt="2019-04-02T17:31:18.306" v="1326" actId="207"/>
          <ac:spMkLst>
            <pc:docMk/>
            <pc:sldMk cId="2170765889" sldId="300"/>
            <ac:spMk id="7" creationId="{008B1113-1C85-4F5F-9737-1A5CDE5EB6AD}"/>
          </ac:spMkLst>
        </pc:spChg>
        <pc:spChg chg="add">
          <ac:chgData name="Thomas Stensitzki" userId="75cafe6b-2f2a-469b-85c4-eec3b9c972ba" providerId="ADAL" clId="{06E14ABF-FC4C-4B98-B2A4-DF762ED946F2}" dt="2019-04-02T17:31:05.683" v="1325"/>
          <ac:spMkLst>
            <pc:docMk/>
            <pc:sldMk cId="2170765889" sldId="300"/>
            <ac:spMk id="10" creationId="{CF95394A-2061-4326-B6F3-389D871D6F85}"/>
          </ac:spMkLst>
        </pc:spChg>
        <pc:picChg chg="add">
          <ac:chgData name="Thomas Stensitzki" userId="75cafe6b-2f2a-469b-85c4-eec3b9c972ba" providerId="ADAL" clId="{06E14ABF-FC4C-4B98-B2A4-DF762ED946F2}" dt="2019-04-02T17:31:05.683" v="1325"/>
          <ac:picMkLst>
            <pc:docMk/>
            <pc:sldMk cId="2170765889" sldId="300"/>
            <ac:picMk id="5" creationId="{BAB7E718-BF62-4DE0-9296-C469A9AC8207}"/>
          </ac:picMkLst>
        </pc:picChg>
        <pc:picChg chg="add">
          <ac:chgData name="Thomas Stensitzki" userId="75cafe6b-2f2a-469b-85c4-eec3b9c972ba" providerId="ADAL" clId="{06E14ABF-FC4C-4B98-B2A4-DF762ED946F2}" dt="2019-04-02T17:31:05.683" v="1325"/>
          <ac:picMkLst>
            <pc:docMk/>
            <pc:sldMk cId="2170765889" sldId="300"/>
            <ac:picMk id="8" creationId="{6191F2A9-33C0-4AC8-B9AB-69B4A58C129A}"/>
          </ac:picMkLst>
        </pc:picChg>
        <pc:picChg chg="add">
          <ac:chgData name="Thomas Stensitzki" userId="75cafe6b-2f2a-469b-85c4-eec3b9c972ba" providerId="ADAL" clId="{06E14ABF-FC4C-4B98-B2A4-DF762ED946F2}" dt="2019-04-02T17:31:05.683" v="1325"/>
          <ac:picMkLst>
            <pc:docMk/>
            <pc:sldMk cId="2170765889" sldId="300"/>
            <ac:picMk id="9" creationId="{25639242-9687-4295-BE5F-F7F9AC5CC830}"/>
          </ac:picMkLst>
        </pc:picChg>
      </pc:sldChg>
      <pc:sldChg chg="modSp add">
        <pc:chgData name="Thomas Stensitzki" userId="75cafe6b-2f2a-469b-85c4-eec3b9c972ba" providerId="ADAL" clId="{06E14ABF-FC4C-4B98-B2A4-DF762ED946F2}" dt="2019-04-02T17:34:10.267" v="1346" actId="20577"/>
        <pc:sldMkLst>
          <pc:docMk/>
          <pc:sldMk cId="2659899239" sldId="301"/>
        </pc:sldMkLst>
        <pc:spChg chg="mod">
          <ac:chgData name="Thomas Stensitzki" userId="75cafe6b-2f2a-469b-85c4-eec3b9c972ba" providerId="ADAL" clId="{06E14ABF-FC4C-4B98-B2A4-DF762ED946F2}" dt="2019-04-02T17:33:54.552" v="1342" actId="20577"/>
          <ac:spMkLst>
            <pc:docMk/>
            <pc:sldMk cId="2659899239" sldId="301"/>
            <ac:spMk id="2" creationId="{6E7C46E8-08BA-473F-927D-A8D89EF2786C}"/>
          </ac:spMkLst>
        </pc:spChg>
        <pc:spChg chg="mod">
          <ac:chgData name="Thomas Stensitzki" userId="75cafe6b-2f2a-469b-85c4-eec3b9c972ba" providerId="ADAL" clId="{06E14ABF-FC4C-4B98-B2A4-DF762ED946F2}" dt="2019-04-02T17:34:10.267" v="1346" actId="20577"/>
          <ac:spMkLst>
            <pc:docMk/>
            <pc:sldMk cId="2659899239" sldId="301"/>
            <ac:spMk id="3" creationId="{607F14A2-830C-404D-AA4E-EA014C520758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5" Type="http://schemas.openxmlformats.org/officeDocument/2006/relationships/chartUserShapes" Target="../drawings/drawing1.xml"/><Relationship Id="rId4" Type="http://schemas.openxmlformats.org/officeDocument/2006/relationships/oleObject" Target="file:///C:\Users\toklima\Desktop\RopSummaryCube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5" Type="http://schemas.openxmlformats.org/officeDocument/2006/relationships/chartUserShapes" Target="../drawings/drawing2.xml"/><Relationship Id="rId4" Type="http://schemas.openxmlformats.org/officeDocument/2006/relationships/oleObject" Target="file:///C:\Users\toklima\Desktop\RopSummaryCube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pivotSource>
    <c:name>[RopSummaryCube.xlsx]Sheet1!PivotTable1</c:name>
    <c:fmtId val="-1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b="1" dirty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</a:rPr>
              <a:t>Peak Hour HDD I/O</a:t>
            </a:r>
            <a:r>
              <a:rPr lang="en-US" sz="1600" dirty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</a:rPr>
              <a:t> </a:t>
            </a:r>
            <a:r>
              <a:rPr lang="en-US" sz="1600" dirty="0" err="1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</a:rPr>
              <a:t>für</a:t>
            </a:r>
            <a:r>
              <a:rPr lang="en-US" sz="1600" dirty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</a:rPr>
              <a:t> POP, IMAP &amp; OW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bg2">
                  <a:lumMod val="20000"/>
                  <a:lumOff val="80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5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5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</c:pivotFmts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6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5"/>
              </a:solidFill>
              <a:ln>
                <a:solidFill>
                  <a:schemeClr val="accent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4D8-4BB4-92FA-6AF5F3DC33FD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5"/>
              </a:solidFill>
              <a:ln>
                <a:solidFill>
                  <a:schemeClr val="accent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4D8-4BB4-92FA-6AF5F3DC33FD}"/>
              </c:ext>
            </c:extLst>
          </c:dPt>
          <c:cat>
            <c:multiLvlStrRef>
              <c:f>Sheet1!$A$7:$A$14</c:f>
              <c:multiLvlStrCache>
                <c:ptCount val="5"/>
                <c:lvl>
                  <c:pt idx="0">
                    <c:v>2018-07-23</c:v>
                  </c:pt>
                  <c:pt idx="1">
                    <c:v>2018-07-24</c:v>
                  </c:pt>
                  <c:pt idx="2">
                    <c:v>2018-07-25</c:v>
                  </c:pt>
                  <c:pt idx="3">
                    <c:v>2018-07-26</c:v>
                  </c:pt>
                  <c:pt idx="4">
                    <c:v>2018-07-27</c:v>
                  </c:pt>
                </c:lvl>
                <c:lvl>
                  <c:pt idx="0">
                    <c:v>July</c:v>
                  </c:pt>
                </c:lvl>
                <c:lvl>
                  <c:pt idx="0">
                    <c:v>2018</c:v>
                  </c:pt>
                </c:lvl>
              </c:multiLvlStrCache>
            </c:multiLvlStrRef>
          </c:cat>
          <c:val>
            <c:numRef>
              <c:f>Sheet1!$B$7:$B$14</c:f>
              <c:numCache>
                <c:formatCode>General</c:formatCode>
                <c:ptCount val="5"/>
                <c:pt idx="0">
                  <c:v>9105178</c:v>
                </c:pt>
                <c:pt idx="1">
                  <c:v>13767355</c:v>
                </c:pt>
                <c:pt idx="2">
                  <c:v>12399370</c:v>
                </c:pt>
                <c:pt idx="3">
                  <c:v>26295007</c:v>
                </c:pt>
                <c:pt idx="4">
                  <c:v>220409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4D8-4BB4-92FA-6AF5F3DC33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29215792"/>
        <c:axId val="778497408"/>
      </c:barChart>
      <c:catAx>
        <c:axId val="72921579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778497408"/>
        <c:crosses val="autoZero"/>
        <c:auto val="1"/>
        <c:lblAlgn val="ctr"/>
        <c:lblOffset val="100"/>
        <c:noMultiLvlLbl val="0"/>
      </c:catAx>
      <c:valAx>
        <c:axId val="77849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7292157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4">
    <c:autoUpdate val="0"/>
  </c:externalData>
  <c:userShapes r:id="rId5"/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b="1" dirty="0">
                <a:solidFill>
                  <a:schemeClr val="bg2">
                    <a:lumMod val="20000"/>
                    <a:lumOff val="80000"/>
                  </a:schemeClr>
                </a:solidFill>
              </a:rPr>
              <a:t>Peak Hour Call Latency (</a:t>
            </a:r>
            <a:r>
              <a:rPr lang="en-US" sz="1600" b="1" dirty="0" err="1">
                <a:solidFill>
                  <a:schemeClr val="bg2">
                    <a:lumMod val="20000"/>
                    <a:lumOff val="80000"/>
                  </a:schemeClr>
                </a:solidFill>
              </a:rPr>
              <a:t>ms</a:t>
            </a:r>
            <a:r>
              <a:rPr lang="en-US" sz="1600" b="1" dirty="0">
                <a:solidFill>
                  <a:schemeClr val="bg2">
                    <a:lumMod val="20000"/>
                    <a:lumOff val="80000"/>
                  </a:schemeClr>
                </a:solidFill>
              </a:rPr>
              <a:t>)</a:t>
            </a:r>
            <a:r>
              <a:rPr lang="en-US" sz="1600" dirty="0">
                <a:solidFill>
                  <a:schemeClr val="bg2">
                    <a:lumMod val="20000"/>
                    <a:lumOff val="80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bg2">
                    <a:lumMod val="20000"/>
                    <a:lumOff val="80000"/>
                  </a:schemeClr>
                </a:solidFill>
              </a:rPr>
              <a:t>für</a:t>
            </a:r>
            <a:r>
              <a:rPr lang="en-US" sz="1600" dirty="0">
                <a:solidFill>
                  <a:schemeClr val="bg2">
                    <a:lumMod val="20000"/>
                    <a:lumOff val="80000"/>
                  </a:schemeClr>
                </a:solidFill>
              </a:rPr>
              <a:t> POP, IMAP</a:t>
            </a:r>
            <a:r>
              <a:rPr lang="en-US" sz="1600" baseline="0" dirty="0">
                <a:solidFill>
                  <a:schemeClr val="bg2">
                    <a:lumMod val="20000"/>
                    <a:lumOff val="80000"/>
                  </a:schemeClr>
                </a:solidFill>
              </a:rPr>
              <a:t> &amp;</a:t>
            </a:r>
            <a:r>
              <a:rPr lang="en-US" sz="1600" dirty="0">
                <a:solidFill>
                  <a:schemeClr val="bg2">
                    <a:lumMod val="20000"/>
                    <a:lumOff val="80000"/>
                  </a:schemeClr>
                </a:solidFill>
              </a:rPr>
              <a:t> OW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bg2">
                  <a:lumMod val="20000"/>
                  <a:lumOff val="80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Mail!$D$1</c:f>
              <c:strCache>
                <c:ptCount val="1"/>
                <c:pt idx="0">
                  <c:v>ms/Cal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5"/>
              </a:solidFill>
              <a:ln>
                <a:solidFill>
                  <a:schemeClr val="accent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C3A-4D27-BE61-EB80476D14EF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5"/>
              </a:solidFill>
              <a:ln>
                <a:solidFill>
                  <a:schemeClr val="accent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C3A-4D27-BE61-EB80476D14EF}"/>
              </c:ext>
            </c:extLst>
          </c:dPt>
          <c:cat>
            <c:strRef>
              <c:f>Mail!$A$2:$A$6</c:f>
              <c:strCache>
                <c:ptCount val="5"/>
                <c:pt idx="0">
                  <c:v>2018-07-23</c:v>
                </c:pt>
                <c:pt idx="1">
                  <c:v>2018-07-24</c:v>
                </c:pt>
                <c:pt idx="2">
                  <c:v>2018-07-25</c:v>
                </c:pt>
                <c:pt idx="3">
                  <c:v>2018-07-26</c:v>
                </c:pt>
                <c:pt idx="4">
                  <c:v>2018-07-27</c:v>
                </c:pt>
              </c:strCache>
            </c:strRef>
          </c:cat>
          <c:val>
            <c:numRef>
              <c:f>Mail!$D$2:$D$6</c:f>
              <c:numCache>
                <c:formatCode>#,##0.00</c:formatCode>
                <c:ptCount val="5"/>
                <c:pt idx="0">
                  <c:v>0.24688964778513697</c:v>
                </c:pt>
                <c:pt idx="1">
                  <c:v>0.25926150010056731</c:v>
                </c:pt>
                <c:pt idx="2">
                  <c:v>0.20383246968571966</c:v>
                </c:pt>
                <c:pt idx="3">
                  <c:v>0.71556579055551139</c:v>
                </c:pt>
                <c:pt idx="4">
                  <c:v>0.716346705038022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C3A-4D27-BE61-EB80476D14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390126608"/>
        <c:axId val="1399805696"/>
      </c:barChart>
      <c:catAx>
        <c:axId val="139012660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399805696"/>
        <c:crosses val="autoZero"/>
        <c:auto val="1"/>
        <c:lblAlgn val="ctr"/>
        <c:lblOffset val="100"/>
        <c:noMultiLvlLbl val="0"/>
      </c:catAx>
      <c:valAx>
        <c:axId val="13998056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3901266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4">
    <c:autoUpdate val="0"/>
  </c:externalData>
  <c:userShapes r:id="rId5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64964</cdr:x>
      <cdr:y>0.33874</cdr:y>
    </cdr:from>
    <cdr:to>
      <cdr:x>0.6497</cdr:x>
      <cdr:y>0.56085</cdr:y>
    </cdr:to>
    <cdr:cxnSp macro="">
      <cdr:nvCxnSpPr>
        <cdr:cNvPr id="2" name="Straight Arrow Connector 4">
          <a:extLst xmlns:a="http://schemas.openxmlformats.org/drawingml/2006/main">
            <a:ext uri="{FF2B5EF4-FFF2-40B4-BE49-F238E27FC236}">
              <a16:creationId xmlns:a16="http://schemas.microsoft.com/office/drawing/2014/main" id="{EB02BB84-3B88-4EC8-B615-AAC7D98017B0}"/>
            </a:ext>
          </a:extLst>
        </cdr:cNvPr>
        <cdr:cNvCxnSpPr>
          <a:cxnSpLocks xmlns:a="http://schemas.openxmlformats.org/drawingml/2006/main"/>
        </cdr:cNvCxnSpPr>
      </cdr:nvCxnSpPr>
      <cdr:spPr>
        <a:xfrm xmlns:a="http://schemas.openxmlformats.org/drawingml/2006/main">
          <a:off x="3404991" y="1677705"/>
          <a:ext cx="277" cy="1100087"/>
        </a:xfrm>
        <a:prstGeom xmlns:a="http://schemas.openxmlformats.org/drawingml/2006/main" prst="straightConnector1">
          <a:avLst/>
        </a:prstGeom>
        <a:noFill xmlns:a="http://schemas.openxmlformats.org/drawingml/2006/main"/>
        <a:ln xmlns:a="http://schemas.openxmlformats.org/drawingml/2006/main" w="12700" cap="flat" cmpd="sng" algn="ctr">
          <a:solidFill>
            <a:srgbClr val="0078D4"/>
          </a:solidFill>
          <a:prstDash val="solid"/>
          <a:headEnd type="triangle"/>
          <a:tailEnd type="triangle"/>
        </a:ln>
        <a:effectLst xmlns:a="http://schemas.openxmlformats.org/drawingml/2006/main"/>
      </cdr:spPr>
    </cdr:cxnSp>
  </cdr:relSizeAnchor>
  <cdr:relSizeAnchor xmlns:cdr="http://schemas.openxmlformats.org/drawingml/2006/chartDrawing">
    <cdr:from>
      <cdr:x>0.51491</cdr:x>
      <cdr:y>0.42543</cdr:y>
    </cdr:from>
    <cdr:to>
      <cdr:x>0.63872</cdr:x>
      <cdr:y>0.5</cdr:y>
    </cdr:to>
    <cdr:sp macro="" textlink="">
      <cdr:nvSpPr>
        <cdr:cNvPr id="3" name="TextBox 5">
          <a:extLst xmlns:a="http://schemas.openxmlformats.org/drawingml/2006/main">
            <a:ext uri="{FF2B5EF4-FFF2-40B4-BE49-F238E27FC236}">
              <a16:creationId xmlns:a16="http://schemas.microsoft.com/office/drawing/2014/main" id="{868BD7E1-5D52-4AF8-A966-EDB4CDD24172}"/>
            </a:ext>
          </a:extLst>
        </cdr:cNvPr>
        <cdr:cNvSpPr txBox="1"/>
      </cdr:nvSpPr>
      <cdr:spPr>
        <a:xfrm xmlns:a="http://schemas.openxmlformats.org/drawingml/2006/main">
          <a:off x="2698812" y="2107078"/>
          <a:ext cx="648932" cy="36933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de-DE"/>
          </a:defPPr>
          <a:lvl1pPr marL="0" algn="l" defTabSz="914035" rtl="0" eaLnBrk="1" latinLnBrk="0" hangingPunct="1">
            <a:defRPr sz="1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018" algn="l" defTabSz="914035" rtl="0" eaLnBrk="1" latinLnBrk="0" hangingPunct="1">
            <a:defRPr sz="1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035" algn="l" defTabSz="914035" rtl="0" eaLnBrk="1" latinLnBrk="0" hangingPunct="1">
            <a:defRPr sz="1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054" algn="l" defTabSz="914035" rtl="0" eaLnBrk="1" latinLnBrk="0" hangingPunct="1">
            <a:defRPr sz="1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069" algn="l" defTabSz="914035" rtl="0" eaLnBrk="1" latinLnBrk="0" hangingPunct="1">
            <a:defRPr sz="1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5086" algn="l" defTabSz="914035" rtl="0" eaLnBrk="1" latinLnBrk="0" hangingPunct="1">
            <a:defRPr sz="1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2104" algn="l" defTabSz="914035" rtl="0" eaLnBrk="1" latinLnBrk="0" hangingPunct="1">
            <a:defRPr sz="1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199120" algn="l" defTabSz="914035" rtl="0" eaLnBrk="1" latinLnBrk="0" hangingPunct="1">
            <a:defRPr sz="1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6138" algn="l" defTabSz="914035" rtl="0" eaLnBrk="1" latinLnBrk="0" hangingPunct="1">
            <a:defRPr sz="1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defTabSz="914367">
            <a:defRPr/>
          </a:pPr>
          <a:r>
            <a:rPr lang="en-US" sz="1765" b="1" dirty="0">
              <a:solidFill>
                <a:schemeClr val="bg2">
                  <a:lumMod val="20000"/>
                  <a:lumOff val="80000"/>
                </a:schemeClr>
              </a:solidFill>
              <a:latin typeface="Segoe UI"/>
            </a:rPr>
            <a:t>39%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2446</cdr:x>
      <cdr:y>0.64809</cdr:y>
    </cdr:from>
    <cdr:to>
      <cdr:x>0.55051</cdr:x>
      <cdr:y>0.68576</cdr:y>
    </cdr:to>
    <cdr:sp macro="" textlink="">
      <cdr:nvSpPr>
        <cdr:cNvPr id="2" name="Right Brace 1">
          <a:extLst xmlns:a="http://schemas.openxmlformats.org/drawingml/2006/main">
            <a:ext uri="{FF2B5EF4-FFF2-40B4-BE49-F238E27FC236}">
              <a16:creationId xmlns:a16="http://schemas.microsoft.com/office/drawing/2014/main" id="{5BF53ED9-A0B3-4BAF-86AB-765966F7F318}"/>
            </a:ext>
          </a:extLst>
        </cdr:cNvPr>
        <cdr:cNvSpPr/>
      </cdr:nvSpPr>
      <cdr:spPr>
        <a:xfrm xmlns:a="http://schemas.openxmlformats.org/drawingml/2006/main" rot="16200000">
          <a:off x="1922096" y="2377464"/>
          <a:ext cx="206495" cy="2556824"/>
        </a:xfrm>
        <a:prstGeom xmlns:a="http://schemas.openxmlformats.org/drawingml/2006/main" prst="rightBrace">
          <a:avLst>
            <a:gd name="adj1" fmla="val 138802"/>
            <a:gd name="adj2" fmla="val 50000"/>
          </a:avLst>
        </a:prstGeom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 dirty="0"/>
        </a:p>
      </cdr:txBody>
    </cdr:sp>
  </cdr:relSizeAnchor>
  <cdr:relSizeAnchor xmlns:cdr="http://schemas.openxmlformats.org/drawingml/2006/chartDrawing">
    <cdr:from>
      <cdr:x>0.66689</cdr:x>
      <cdr:y>0.15677</cdr:y>
    </cdr:from>
    <cdr:to>
      <cdr:x>0.92158</cdr:x>
      <cdr:y>0.18754</cdr:y>
    </cdr:to>
    <cdr:sp macro="" textlink="">
      <cdr:nvSpPr>
        <cdr:cNvPr id="3" name="Right Brace 10">
          <a:extLst xmlns:a="http://schemas.openxmlformats.org/drawingml/2006/main">
            <a:ext uri="{FF2B5EF4-FFF2-40B4-BE49-F238E27FC236}">
              <a16:creationId xmlns:a16="http://schemas.microsoft.com/office/drawing/2014/main" id="{2A1B16D2-1976-472D-8968-C09D064137DA}"/>
            </a:ext>
          </a:extLst>
        </cdr:cNvPr>
        <cdr:cNvSpPr/>
      </cdr:nvSpPr>
      <cdr:spPr>
        <a:xfrm xmlns:a="http://schemas.openxmlformats.org/drawingml/2006/main" rot="16200000">
          <a:off x="4688873" y="88643"/>
          <a:ext cx="152399" cy="1528008"/>
        </a:xfrm>
        <a:prstGeom xmlns:a="http://schemas.openxmlformats.org/drawingml/2006/main" prst="rightBrace">
          <a:avLst>
            <a:gd name="adj1" fmla="val 138802"/>
            <a:gd name="adj2" fmla="val 80964"/>
          </a:avLst>
        </a:prstGeom>
        <a:noFill xmlns:a="http://schemas.openxmlformats.org/drawingml/2006/main"/>
        <a:ln xmlns:a="http://schemas.openxmlformats.org/drawingml/2006/main" w="9525" cap="flat" cmpd="sng" algn="ctr">
          <a:solidFill>
            <a:srgbClr val="737373"/>
          </a:solidFill>
          <a:prstDash val="solid"/>
        </a:ln>
        <a:effectLst xmlns:a="http://schemas.openxmlformats.org/drawingml/2006/main"/>
      </cdr:spPr>
      <cdr:txBody>
        <a:bodyPr xmlns:a="http://schemas.openxmlformats.org/drawingml/2006/main"/>
        <a:lstStyle xmlns:a="http://schemas.openxmlformats.org/drawingml/2006/main">
          <a:defPPr>
            <a:defRPr lang="de-DE"/>
          </a:defPPr>
          <a:lvl1pPr marL="0" algn="l" defTabSz="914035" rtl="0" eaLnBrk="1" latinLnBrk="0" hangingPunct="1">
            <a:defRPr sz="1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018" algn="l" defTabSz="914035" rtl="0" eaLnBrk="1" latinLnBrk="0" hangingPunct="1">
            <a:defRPr sz="1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035" algn="l" defTabSz="914035" rtl="0" eaLnBrk="1" latinLnBrk="0" hangingPunct="1">
            <a:defRPr sz="1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054" algn="l" defTabSz="914035" rtl="0" eaLnBrk="1" latinLnBrk="0" hangingPunct="1">
            <a:defRPr sz="1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069" algn="l" defTabSz="914035" rtl="0" eaLnBrk="1" latinLnBrk="0" hangingPunct="1">
            <a:defRPr sz="1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5086" algn="l" defTabSz="914035" rtl="0" eaLnBrk="1" latinLnBrk="0" hangingPunct="1">
            <a:defRPr sz="1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2104" algn="l" defTabSz="914035" rtl="0" eaLnBrk="1" latinLnBrk="0" hangingPunct="1">
            <a:defRPr sz="1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199120" algn="l" defTabSz="914035" rtl="0" eaLnBrk="1" latinLnBrk="0" hangingPunct="1">
            <a:defRPr sz="1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6138" algn="l" defTabSz="914035" rtl="0" eaLnBrk="1" latinLnBrk="0" hangingPunct="1">
            <a:defRPr sz="1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marR="0" lvl="0" indent="0" defTabSz="914367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kumimoji="0" lang="en-US" sz="1100" b="0" i="0" u="none" strike="noStrike" kern="0" cap="none" spc="0" normalizeH="0" baseline="0" noProof="0" dirty="0">
            <a:ln>
              <a:noFill/>
            </a:ln>
            <a:solidFill>
              <a:srgbClr val="002050"/>
            </a:solidFill>
            <a:effectLst/>
            <a:uLnTx/>
            <a:uFillTx/>
            <a:latin typeface="Segoe UI"/>
            <a:ea typeface="+mn-ea"/>
            <a:cs typeface="+mn-cs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BA0481-4FA6-4961-BCB0-25EF86726492}" type="datetimeFigureOut">
              <a:rPr lang="de-DE" smtClean="0"/>
              <a:t>04.04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4F3461-6973-4A70-B038-7E08B441689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56065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3BF356-DBFC-476B-AC58-6229004DAC1B}" type="datetimeFigureOut">
              <a:rPr lang="de-DE" smtClean="0"/>
              <a:t>04.04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DF68A7-DF42-4E0B-A2A7-C05F6B65347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83335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blogs.technet.microsoft.com/filecab/2017/08/11/understanding-dwpd-tbw/" TargetMode="External"/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6548341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uPOI</a:t>
            </a:r>
            <a:r>
              <a:rPr lang="de-DE" dirty="0"/>
              <a:t> = Universal Per-</a:t>
            </a:r>
            <a:r>
              <a:rPr lang="de-DE" dirty="0" err="1"/>
              <a:t>Object</a:t>
            </a:r>
            <a:r>
              <a:rPr lang="de-DE" dirty="0"/>
              <a:t>-Index-</a:t>
            </a:r>
            <a:r>
              <a:rPr lang="de-DE" dirty="0" err="1"/>
              <a:t>Object</a:t>
            </a:r>
            <a:endParaRPr lang="de-DE" dirty="0"/>
          </a:p>
          <a:p>
            <a:r>
              <a:rPr lang="de-DE" dirty="0" err="1"/>
              <a:t>cPOÍ</a:t>
            </a:r>
            <a:r>
              <a:rPr lang="de-DE" baseline="0" dirty="0"/>
              <a:t> = Compressed POI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7409342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1635178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6254395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9133422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985596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0250739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660824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https://go.granikos.eu/EX19MCDB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PA = Preferred Architecture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0657307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098198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413422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38460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1002633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>
                <a:hlinkClick r:id="rId3"/>
              </a:rPr>
              <a:t>https://blogs.technet.microsoft.com/filecab/2017/08/11/understanding-dwpd-tbw/</a:t>
            </a:r>
            <a:r>
              <a:rPr lang="de-DE" dirty="0"/>
              <a:t>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1778494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9916136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1154601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9016213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5799642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2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933085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2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4481824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3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0720936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3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788192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01101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3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659656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225168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658406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95583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058600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498367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850585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8" name="Rechteck 7"/>
          <p:cNvSpPr/>
          <p:nvPr userDrawn="1"/>
        </p:nvSpPr>
        <p:spPr>
          <a:xfrm>
            <a:off x="541176" y="6316824"/>
            <a:ext cx="11523306" cy="298580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92534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520890"/>
            <a:ext cx="10515600" cy="4656073"/>
          </a:xfr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38200" y="988489"/>
            <a:ext cx="8817429" cy="373775"/>
          </a:xfrm>
        </p:spPr>
        <p:txBody>
          <a:bodyPr>
            <a:normAutofit/>
          </a:bodyPr>
          <a:lstStyle>
            <a:lvl1pPr marL="0" indent="0">
              <a:buNone/>
              <a:defRPr sz="19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8378039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38200" y="988489"/>
            <a:ext cx="8817429" cy="373775"/>
          </a:xfrm>
        </p:spPr>
        <p:txBody>
          <a:bodyPr>
            <a:normAutofit/>
          </a:bodyPr>
          <a:lstStyle>
            <a:lvl1pPr marL="0" indent="0">
              <a:buNone/>
              <a:defRPr sz="19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41846355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748129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455576"/>
            <a:ext cx="5181600" cy="4721387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455576"/>
            <a:ext cx="5181600" cy="4721387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38200" y="988489"/>
            <a:ext cx="8817429" cy="373775"/>
          </a:xfrm>
        </p:spPr>
        <p:txBody>
          <a:bodyPr>
            <a:normAutofit/>
          </a:bodyPr>
          <a:lstStyle>
            <a:lvl1pPr marL="0" indent="0">
              <a:buNone/>
              <a:defRPr sz="19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8240772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84391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32104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-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839611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- weiß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016288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6721" y="233267"/>
            <a:ext cx="1334278" cy="1334278"/>
          </a:xfrm>
          <a:prstGeom prst="rect">
            <a:avLst/>
          </a:prstGeom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313506" cy="613283"/>
          </a:xfrm>
          <a:prstGeom prst="rect">
            <a:avLst/>
          </a:prstGeom>
        </p:spPr>
        <p:txBody>
          <a:bodyPr vert="horz" wrap="none" lIns="91440" tIns="45720" rIns="91440" bIns="45720" rtlCol="0" anchor="t" anchorCtr="0">
            <a:normAutofit/>
          </a:bodyPr>
          <a:lstStyle/>
          <a:p>
            <a:r>
              <a:rPr lang="de-DE" dirty="0"/>
              <a:t>Titelmasterformat durch Klicken bearbeiten</a:t>
            </a:r>
            <a:br>
              <a:rPr lang="de-DE" dirty="0"/>
            </a:b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9" name="Textfeld 8"/>
          <p:cNvSpPr txBox="1"/>
          <p:nvPr userDrawn="1"/>
        </p:nvSpPr>
        <p:spPr>
          <a:xfrm>
            <a:off x="838200" y="6298164"/>
            <a:ext cx="278207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>
                <a:solidFill>
                  <a:schemeClr val="accent5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xchange User Group Berlin</a:t>
            </a:r>
            <a:endParaRPr lang="en-US" sz="1600" dirty="0">
              <a:solidFill>
                <a:schemeClr val="accent5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feld 9"/>
          <p:cNvSpPr txBox="1"/>
          <p:nvPr userDrawn="1"/>
        </p:nvSpPr>
        <p:spPr>
          <a:xfrm>
            <a:off x="9414587" y="6301271"/>
            <a:ext cx="19532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A82353EE-51AA-4714-8F87-33063FDE88AD}" type="slidenum">
              <a:rPr lang="de-DE" sz="1600" smtClean="0">
                <a:solidFill>
                  <a:schemeClr val="accent5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‹Nr.›</a:t>
            </a:fld>
            <a:endParaRPr lang="en-US" sz="1600" dirty="0">
              <a:solidFill>
                <a:schemeClr val="accent5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899405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703" r:id="rId3"/>
    <p:sldLayoutId id="2147483699" r:id="rId4"/>
    <p:sldLayoutId id="2147483700" r:id="rId5"/>
    <p:sldLayoutId id="2147483701" r:id="rId6"/>
    <p:sldLayoutId id="2147483702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0" baseline="0">
          <a:solidFill>
            <a:schemeClr val="accent5"/>
          </a:solidFill>
          <a:effectLst/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5"/>
        </a:buClr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  <a:lvl2pPr marL="541338" indent="-271463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2pPr>
      <a:lvl3pPr marL="801688" indent="-26035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3pPr>
      <a:lvl4pPr marL="989013" indent="-187325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4pPr>
      <a:lvl5pPr marL="1166813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tabLst>
          <a:tab pos="1073150" algn="l"/>
        </a:tabLst>
        <a:defRPr sz="1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344485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1" r:id="rId1"/>
    <p:sldLayoutId id="2147483712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0" baseline="0">
          <a:solidFill>
            <a:schemeClr val="accent5"/>
          </a:solidFill>
          <a:effectLst/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5"/>
        </a:buClr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  <a:lvl2pPr marL="541338" indent="-271463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2pPr>
      <a:lvl3pPr marL="801688" indent="-26035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3pPr>
      <a:lvl4pPr marL="989013" indent="-187325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4pPr>
      <a:lvl5pPr marL="1166813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tabLst>
          <a:tab pos="1073150" algn="l"/>
        </a:tabLst>
        <a:defRPr sz="1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10" Type="http://schemas.openxmlformats.org/officeDocument/2006/relationships/image" Target="../media/image22.svg"/><Relationship Id="rId4" Type="http://schemas.openxmlformats.org/officeDocument/2006/relationships/image" Target="../media/image16.svg"/><Relationship Id="rId9" Type="http://schemas.openxmlformats.org/officeDocument/2006/relationships/image" Target="../media/image2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svg"/><Relationship Id="rId5" Type="http://schemas.openxmlformats.org/officeDocument/2006/relationships/image" Target="../media/image25.png"/><Relationship Id="rId4" Type="http://schemas.openxmlformats.org/officeDocument/2006/relationships/image" Target="../media/image24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go.granikos.eu/EX19MCDB" TargetMode="Externa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sv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sv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tensitzki.de/" TargetMode="Externa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.png"/><Relationship Id="rId5" Type="http://schemas.microsoft.com/office/2007/relationships/hdphoto" Target="../media/hdphoto1.wdp"/><Relationship Id="rId4" Type="http://schemas.openxmlformats.org/officeDocument/2006/relationships/image" Target="../media/image31.jpe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image" Target="../media/image32.emf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tensitzki.de/" TargetMode="Externa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.png"/><Relationship Id="rId5" Type="http://schemas.microsoft.com/office/2007/relationships/hdphoto" Target="../media/hdphoto1.wdp"/><Relationship Id="rId4" Type="http://schemas.openxmlformats.org/officeDocument/2006/relationships/image" Target="../media/image31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go.granikos.eu/ExchangeExperience" TargetMode="Externa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mailto:thomas.stensitzki@granikos.eu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Exchange User Group Berli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/>
          </a:p>
          <a:p>
            <a:endParaRPr lang="de-DE" dirty="0"/>
          </a:p>
          <a:p>
            <a:r>
              <a:rPr lang="de-DE" dirty="0"/>
              <a:t>3. April 2019</a:t>
            </a:r>
          </a:p>
        </p:txBody>
      </p:sp>
    </p:spTree>
    <p:extLst>
      <p:ext uri="{BB962C8B-B14F-4D97-AF65-F5344CB8AC3E}">
        <p14:creationId xmlns:p14="http://schemas.microsoft.com/office/powerpoint/2010/main" val="35330496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BigFunn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System </a:t>
            </a:r>
            <a:r>
              <a:rPr lang="de-DE" dirty="0" err="1"/>
              <a:t>Overview</a:t>
            </a:r>
            <a:endParaRPr lang="de-DE" dirty="0"/>
          </a:p>
          <a:p>
            <a:endParaRPr lang="de-DE" dirty="0"/>
          </a:p>
        </p:txBody>
      </p:sp>
      <p:grpSp>
        <p:nvGrpSpPr>
          <p:cNvPr id="5" name="Group 62">
            <a:extLst>
              <a:ext uri="{FF2B5EF4-FFF2-40B4-BE49-F238E27FC236}">
                <a16:creationId xmlns:a16="http://schemas.microsoft.com/office/drawing/2014/main" id="{2910B115-9DE6-4F4B-AF01-C3E2D304F18A}"/>
              </a:ext>
            </a:extLst>
          </p:cNvPr>
          <p:cNvGrpSpPr/>
          <p:nvPr/>
        </p:nvGrpSpPr>
        <p:grpSpPr>
          <a:xfrm>
            <a:off x="9431064" y="3354146"/>
            <a:ext cx="1785452" cy="1352856"/>
            <a:chOff x="505609" y="2226833"/>
            <a:chExt cx="5690796" cy="4432150"/>
          </a:xfrm>
        </p:grpSpPr>
        <p:sp>
          <p:nvSpPr>
            <p:cNvPr id="6" name="Rectangle 63">
              <a:extLst>
                <a:ext uri="{FF2B5EF4-FFF2-40B4-BE49-F238E27FC236}">
                  <a16:creationId xmlns:a16="http://schemas.microsoft.com/office/drawing/2014/main" id="{F62F7DE0-EF4D-441A-8DBF-3C5FA0E95556}"/>
                </a:ext>
              </a:extLst>
            </p:cNvPr>
            <p:cNvSpPr/>
            <p:nvPr/>
          </p:nvSpPr>
          <p:spPr>
            <a:xfrm>
              <a:off x="505609" y="2226833"/>
              <a:ext cx="5690796" cy="4432150"/>
            </a:xfrm>
            <a:prstGeom prst="rect">
              <a:avLst/>
            </a:prstGeom>
            <a:solidFill>
              <a:srgbClr val="E6E6E6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76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" name="Rectangle 64">
              <a:extLst>
                <a:ext uri="{FF2B5EF4-FFF2-40B4-BE49-F238E27FC236}">
                  <a16:creationId xmlns:a16="http://schemas.microsoft.com/office/drawing/2014/main" id="{76DCBBCF-1698-4412-A8E8-5ABB5CE0FA16}"/>
                </a:ext>
              </a:extLst>
            </p:cNvPr>
            <p:cNvSpPr/>
            <p:nvPr/>
          </p:nvSpPr>
          <p:spPr>
            <a:xfrm>
              <a:off x="782760" y="2565766"/>
              <a:ext cx="5104539" cy="2286000"/>
            </a:xfrm>
            <a:prstGeom prst="rect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t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Managed Store</a:t>
              </a:r>
            </a:p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ESE</a:t>
              </a:r>
              <a:endParaRPr kumimoji="0" lang="de-DE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" name="Rectangle 65">
              <a:extLst>
                <a:ext uri="{FF2B5EF4-FFF2-40B4-BE49-F238E27FC236}">
                  <a16:creationId xmlns:a16="http://schemas.microsoft.com/office/drawing/2014/main" id="{D75C25B8-B5FE-4606-AAF2-F0A06373FF48}"/>
                </a:ext>
              </a:extLst>
            </p:cNvPr>
            <p:cNvSpPr/>
            <p:nvPr/>
          </p:nvSpPr>
          <p:spPr>
            <a:xfrm>
              <a:off x="782760" y="5109891"/>
              <a:ext cx="5104539" cy="494852"/>
            </a:xfrm>
            <a:prstGeom prst="rect">
              <a:avLst/>
            </a:prstGeom>
            <a:solidFill>
              <a:srgbClr val="7030A0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File System</a:t>
              </a:r>
              <a:endParaRPr kumimoji="0" lang="de-DE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" name="Rectangle 66">
              <a:extLst>
                <a:ext uri="{FF2B5EF4-FFF2-40B4-BE49-F238E27FC236}">
                  <a16:creationId xmlns:a16="http://schemas.microsoft.com/office/drawing/2014/main" id="{A4CF482A-C2A7-4681-85C0-2F782B607DEF}"/>
                </a:ext>
              </a:extLst>
            </p:cNvPr>
            <p:cNvSpPr/>
            <p:nvPr/>
          </p:nvSpPr>
          <p:spPr>
            <a:xfrm>
              <a:off x="782760" y="5862868"/>
              <a:ext cx="5104539" cy="494852"/>
            </a:xfrm>
            <a:prstGeom prst="rect">
              <a:avLst/>
            </a:prstGeom>
            <a:solidFill>
              <a:srgbClr val="7030A0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Bitlocker</a:t>
              </a:r>
              <a:endParaRPr kumimoji="0" lang="de-DE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" name="Picture 67" descr="Padlock">
              <a:extLst>
                <a:ext uri="{FF2B5EF4-FFF2-40B4-BE49-F238E27FC236}">
                  <a16:creationId xmlns:a16="http://schemas.microsoft.com/office/drawing/2014/main" id="{450965CC-1958-460C-BEE2-D03F036B135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75578" y="5875203"/>
              <a:ext cx="211721" cy="305735"/>
            </a:xfrm>
            <a:prstGeom prst="rect">
              <a:avLst/>
            </a:prstGeom>
          </p:spPr>
        </p:pic>
        <p:sp>
          <p:nvSpPr>
            <p:cNvPr id="11" name="TextBox 69">
              <a:extLst>
                <a:ext uri="{FF2B5EF4-FFF2-40B4-BE49-F238E27FC236}">
                  <a16:creationId xmlns:a16="http://schemas.microsoft.com/office/drawing/2014/main" id="{8F23A59F-C109-4046-8B1B-667DD269D7B0}"/>
                </a:ext>
              </a:extLst>
            </p:cNvPr>
            <p:cNvSpPr txBox="1"/>
            <p:nvPr/>
          </p:nvSpPr>
          <p:spPr>
            <a:xfrm>
              <a:off x="994788" y="2988851"/>
              <a:ext cx="4680048" cy="756239"/>
            </a:xfrm>
            <a:prstGeom prst="rect">
              <a:avLst/>
            </a:prstGeom>
            <a:solidFill>
              <a:srgbClr val="D2D2D2">
                <a:lumMod val="60000"/>
                <a:lumOff val="40000"/>
              </a:srgbClr>
            </a:solidFill>
          </p:spPr>
          <p:txBody>
            <a:bodyPr wrap="square" rtlCol="0">
              <a:spAutoFit/>
            </a:bodyPr>
            <a:lstStyle/>
            <a:p>
              <a:pPr marL="0" marR="0" lvl="0" indent="0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</a:rPr>
                <a:t>Mailbox</a:t>
              </a:r>
              <a:endPara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2" name="TextBox 71">
              <a:extLst>
                <a:ext uri="{FF2B5EF4-FFF2-40B4-BE49-F238E27FC236}">
                  <a16:creationId xmlns:a16="http://schemas.microsoft.com/office/drawing/2014/main" id="{5542FB95-3F1D-4B69-B6E2-FC3390C4519B}"/>
                </a:ext>
              </a:extLst>
            </p:cNvPr>
            <p:cNvSpPr txBox="1"/>
            <p:nvPr/>
          </p:nvSpPr>
          <p:spPr>
            <a:xfrm>
              <a:off x="994788" y="3524101"/>
              <a:ext cx="4681629" cy="756239"/>
            </a:xfrm>
            <a:prstGeom prst="rect">
              <a:avLst/>
            </a:prstGeom>
            <a:solidFill>
              <a:srgbClr val="D2D2D2">
                <a:lumMod val="60000"/>
                <a:lumOff val="40000"/>
              </a:srgbClr>
            </a:solidFill>
          </p:spPr>
          <p:txBody>
            <a:bodyPr wrap="square" rtlCol="0">
              <a:spAutoFit/>
            </a:bodyPr>
            <a:lstStyle/>
            <a:p>
              <a:pPr marL="0" marR="0" lvl="0" indent="0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</a:rPr>
                <a:t>Mailbox</a:t>
              </a:r>
              <a:endPara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</a:endParaRPr>
            </a:p>
          </p:txBody>
        </p:sp>
        <p:pic>
          <p:nvPicPr>
            <p:cNvPr id="13" name="Picture 72" descr="Padlock">
              <a:extLst>
                <a:ext uri="{FF2B5EF4-FFF2-40B4-BE49-F238E27FC236}">
                  <a16:creationId xmlns:a16="http://schemas.microsoft.com/office/drawing/2014/main" id="{0349F8CB-AB6E-42C4-8865-0563CC1FF25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63113" y="2991361"/>
              <a:ext cx="211721" cy="305735"/>
            </a:xfrm>
            <a:prstGeom prst="rect">
              <a:avLst/>
            </a:prstGeom>
          </p:spPr>
        </p:pic>
        <p:pic>
          <p:nvPicPr>
            <p:cNvPr id="14" name="Picture 73" descr="Padlock">
              <a:extLst>
                <a:ext uri="{FF2B5EF4-FFF2-40B4-BE49-F238E27FC236}">
                  <a16:creationId xmlns:a16="http://schemas.microsoft.com/office/drawing/2014/main" id="{A07CF352-813B-492C-B130-8FB805FAEF2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63113" y="3496911"/>
              <a:ext cx="211721" cy="305735"/>
            </a:xfrm>
            <a:prstGeom prst="rect">
              <a:avLst/>
            </a:prstGeom>
          </p:spPr>
        </p:pic>
        <p:cxnSp>
          <p:nvCxnSpPr>
            <p:cNvPr id="15" name="Straight Connector 74">
              <a:extLst>
                <a:ext uri="{FF2B5EF4-FFF2-40B4-BE49-F238E27FC236}">
                  <a16:creationId xmlns:a16="http://schemas.microsoft.com/office/drawing/2014/main" id="{55420A40-C3BA-438A-A288-CE85B29ECC81}"/>
                </a:ext>
              </a:extLst>
            </p:cNvPr>
            <p:cNvCxnSpPr>
              <a:cxnSpLocks/>
            </p:cNvCxnSpPr>
            <p:nvPr/>
          </p:nvCxnSpPr>
          <p:spPr>
            <a:xfrm>
              <a:off x="787762" y="4429529"/>
              <a:ext cx="5102352" cy="0"/>
            </a:xfrm>
            <a:prstGeom prst="line">
              <a:avLst/>
            </a:prstGeom>
            <a:noFill/>
            <a:ln w="25400" cap="flat" cmpd="sng" algn="ctr">
              <a:solidFill>
                <a:srgbClr val="FFFFFF"/>
              </a:solidFill>
              <a:prstDash val="solid"/>
            </a:ln>
            <a:effectLst/>
          </p:spPr>
        </p:cxnSp>
        <p:sp>
          <p:nvSpPr>
            <p:cNvPr id="16" name="Oval 75">
              <a:extLst>
                <a:ext uri="{FF2B5EF4-FFF2-40B4-BE49-F238E27FC236}">
                  <a16:creationId xmlns:a16="http://schemas.microsoft.com/office/drawing/2014/main" id="{82D42801-718B-4B9E-B02F-A6F39ECD0BF3}"/>
                </a:ext>
              </a:extLst>
            </p:cNvPr>
            <p:cNvSpPr/>
            <p:nvPr/>
          </p:nvSpPr>
          <p:spPr>
            <a:xfrm>
              <a:off x="2212452" y="3109023"/>
              <a:ext cx="696302" cy="256031"/>
            </a:xfrm>
            <a:prstGeom prst="ellipse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" name="Oval 76">
              <a:extLst>
                <a:ext uri="{FF2B5EF4-FFF2-40B4-BE49-F238E27FC236}">
                  <a16:creationId xmlns:a16="http://schemas.microsoft.com/office/drawing/2014/main" id="{DA0B2A54-0A9B-48F0-A584-01D211B1C208}"/>
                </a:ext>
              </a:extLst>
            </p:cNvPr>
            <p:cNvSpPr/>
            <p:nvPr/>
          </p:nvSpPr>
          <p:spPr>
            <a:xfrm>
              <a:off x="3366251" y="3109025"/>
              <a:ext cx="696302" cy="256031"/>
            </a:xfrm>
            <a:prstGeom prst="ellipse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" name="Oval 77">
              <a:extLst>
                <a:ext uri="{FF2B5EF4-FFF2-40B4-BE49-F238E27FC236}">
                  <a16:creationId xmlns:a16="http://schemas.microsoft.com/office/drawing/2014/main" id="{396DFEC8-32C3-4816-A9EB-9F94CFB03096}"/>
                </a:ext>
              </a:extLst>
            </p:cNvPr>
            <p:cNvSpPr/>
            <p:nvPr/>
          </p:nvSpPr>
          <p:spPr>
            <a:xfrm>
              <a:off x="4520051" y="3109025"/>
              <a:ext cx="696302" cy="256031"/>
            </a:xfrm>
            <a:prstGeom prst="ellipse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" name="Oval 78">
              <a:extLst>
                <a:ext uri="{FF2B5EF4-FFF2-40B4-BE49-F238E27FC236}">
                  <a16:creationId xmlns:a16="http://schemas.microsoft.com/office/drawing/2014/main" id="{2E1AED60-3A22-485C-8D86-E0B6BE4BEDA4}"/>
                </a:ext>
              </a:extLst>
            </p:cNvPr>
            <p:cNvSpPr/>
            <p:nvPr/>
          </p:nvSpPr>
          <p:spPr>
            <a:xfrm>
              <a:off x="2212452" y="3645121"/>
              <a:ext cx="696302" cy="256031"/>
            </a:xfrm>
            <a:prstGeom prst="ellipse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" name="Oval 79">
              <a:extLst>
                <a:ext uri="{FF2B5EF4-FFF2-40B4-BE49-F238E27FC236}">
                  <a16:creationId xmlns:a16="http://schemas.microsoft.com/office/drawing/2014/main" id="{49278B65-994E-45A5-8AFF-3E76DD9C4E8F}"/>
                </a:ext>
              </a:extLst>
            </p:cNvPr>
            <p:cNvSpPr/>
            <p:nvPr/>
          </p:nvSpPr>
          <p:spPr>
            <a:xfrm>
              <a:off x="3366251" y="3645121"/>
              <a:ext cx="696302" cy="256031"/>
            </a:xfrm>
            <a:prstGeom prst="ellipse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" name="Oval 80">
              <a:extLst>
                <a:ext uri="{FF2B5EF4-FFF2-40B4-BE49-F238E27FC236}">
                  <a16:creationId xmlns:a16="http://schemas.microsoft.com/office/drawing/2014/main" id="{88898C4E-D74B-4F28-B7F6-EC28D824CCEB}"/>
                </a:ext>
              </a:extLst>
            </p:cNvPr>
            <p:cNvSpPr/>
            <p:nvPr/>
          </p:nvSpPr>
          <p:spPr>
            <a:xfrm>
              <a:off x="4520051" y="3645121"/>
              <a:ext cx="696302" cy="256031"/>
            </a:xfrm>
            <a:prstGeom prst="ellipse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22" name="Group 81">
            <a:extLst>
              <a:ext uri="{FF2B5EF4-FFF2-40B4-BE49-F238E27FC236}">
                <a16:creationId xmlns:a16="http://schemas.microsoft.com/office/drawing/2014/main" id="{B9F31778-A456-4634-9F39-C7F31371EC30}"/>
              </a:ext>
            </a:extLst>
          </p:cNvPr>
          <p:cNvGrpSpPr/>
          <p:nvPr/>
        </p:nvGrpSpPr>
        <p:grpSpPr>
          <a:xfrm>
            <a:off x="9290866" y="3504231"/>
            <a:ext cx="1785452" cy="1352856"/>
            <a:chOff x="505609" y="2226833"/>
            <a:chExt cx="5690796" cy="4432150"/>
          </a:xfrm>
        </p:grpSpPr>
        <p:sp>
          <p:nvSpPr>
            <p:cNvPr id="23" name="Rectangle 82">
              <a:extLst>
                <a:ext uri="{FF2B5EF4-FFF2-40B4-BE49-F238E27FC236}">
                  <a16:creationId xmlns:a16="http://schemas.microsoft.com/office/drawing/2014/main" id="{49DE02D2-6748-4EE7-AD30-C4DB65312E5F}"/>
                </a:ext>
              </a:extLst>
            </p:cNvPr>
            <p:cNvSpPr/>
            <p:nvPr/>
          </p:nvSpPr>
          <p:spPr>
            <a:xfrm>
              <a:off x="505609" y="2226833"/>
              <a:ext cx="5690796" cy="4432150"/>
            </a:xfrm>
            <a:prstGeom prst="rect">
              <a:avLst/>
            </a:prstGeom>
            <a:solidFill>
              <a:srgbClr val="E6E6E6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76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" name="Rectangle 83">
              <a:extLst>
                <a:ext uri="{FF2B5EF4-FFF2-40B4-BE49-F238E27FC236}">
                  <a16:creationId xmlns:a16="http://schemas.microsoft.com/office/drawing/2014/main" id="{DB3D38A3-127B-4F9D-89BC-00350A649331}"/>
                </a:ext>
              </a:extLst>
            </p:cNvPr>
            <p:cNvSpPr/>
            <p:nvPr/>
          </p:nvSpPr>
          <p:spPr>
            <a:xfrm>
              <a:off x="782760" y="2565766"/>
              <a:ext cx="5104539" cy="2286000"/>
            </a:xfrm>
            <a:prstGeom prst="rect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t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Managed Store</a:t>
              </a:r>
            </a:p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ESE</a:t>
              </a:r>
              <a:endParaRPr kumimoji="0" lang="de-DE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" name="Rectangle 84">
              <a:extLst>
                <a:ext uri="{FF2B5EF4-FFF2-40B4-BE49-F238E27FC236}">
                  <a16:creationId xmlns:a16="http://schemas.microsoft.com/office/drawing/2014/main" id="{5BAB1F16-2015-4D89-BE8A-007F6662A732}"/>
                </a:ext>
              </a:extLst>
            </p:cNvPr>
            <p:cNvSpPr/>
            <p:nvPr/>
          </p:nvSpPr>
          <p:spPr>
            <a:xfrm>
              <a:off x="782760" y="5109891"/>
              <a:ext cx="5104539" cy="494852"/>
            </a:xfrm>
            <a:prstGeom prst="rect">
              <a:avLst/>
            </a:prstGeom>
            <a:solidFill>
              <a:srgbClr val="7030A0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File System</a:t>
              </a:r>
              <a:endParaRPr kumimoji="0" lang="de-DE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" name="Rectangle 85">
              <a:extLst>
                <a:ext uri="{FF2B5EF4-FFF2-40B4-BE49-F238E27FC236}">
                  <a16:creationId xmlns:a16="http://schemas.microsoft.com/office/drawing/2014/main" id="{AD8D6003-2C10-43BD-8707-D1534FC04D52}"/>
                </a:ext>
              </a:extLst>
            </p:cNvPr>
            <p:cNvSpPr/>
            <p:nvPr/>
          </p:nvSpPr>
          <p:spPr>
            <a:xfrm>
              <a:off x="782760" y="5862868"/>
              <a:ext cx="5104539" cy="494852"/>
            </a:xfrm>
            <a:prstGeom prst="rect">
              <a:avLst/>
            </a:prstGeom>
            <a:solidFill>
              <a:srgbClr val="7030A0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Bitlocker</a:t>
              </a:r>
              <a:endParaRPr kumimoji="0" lang="de-DE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27" name="Picture 86" descr="Padlock">
              <a:extLst>
                <a:ext uri="{FF2B5EF4-FFF2-40B4-BE49-F238E27FC236}">
                  <a16:creationId xmlns:a16="http://schemas.microsoft.com/office/drawing/2014/main" id="{0830A3FB-2897-4A45-B7BD-6482E0FE9B1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75578" y="5875203"/>
              <a:ext cx="211721" cy="305735"/>
            </a:xfrm>
            <a:prstGeom prst="rect">
              <a:avLst/>
            </a:prstGeom>
          </p:spPr>
        </p:pic>
        <p:sp>
          <p:nvSpPr>
            <p:cNvPr id="28" name="TextBox 87">
              <a:extLst>
                <a:ext uri="{FF2B5EF4-FFF2-40B4-BE49-F238E27FC236}">
                  <a16:creationId xmlns:a16="http://schemas.microsoft.com/office/drawing/2014/main" id="{98338748-2107-4BB3-BC6A-7A164AEFB071}"/>
                </a:ext>
              </a:extLst>
            </p:cNvPr>
            <p:cNvSpPr txBox="1"/>
            <p:nvPr/>
          </p:nvSpPr>
          <p:spPr>
            <a:xfrm>
              <a:off x="994788" y="2988851"/>
              <a:ext cx="4680048" cy="756239"/>
            </a:xfrm>
            <a:prstGeom prst="rect">
              <a:avLst/>
            </a:prstGeom>
            <a:solidFill>
              <a:srgbClr val="D2D2D2">
                <a:lumMod val="60000"/>
                <a:lumOff val="40000"/>
              </a:srgbClr>
            </a:solidFill>
          </p:spPr>
          <p:txBody>
            <a:bodyPr wrap="square" rtlCol="0">
              <a:spAutoFit/>
            </a:bodyPr>
            <a:lstStyle/>
            <a:p>
              <a:pPr marL="0" marR="0" lvl="0" indent="0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</a:rPr>
                <a:t>Mailbox</a:t>
              </a:r>
              <a:endPara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9" name="TextBox 88">
              <a:extLst>
                <a:ext uri="{FF2B5EF4-FFF2-40B4-BE49-F238E27FC236}">
                  <a16:creationId xmlns:a16="http://schemas.microsoft.com/office/drawing/2014/main" id="{8B8EF847-031A-4DF2-88BD-8FC26FBC1F1A}"/>
                </a:ext>
              </a:extLst>
            </p:cNvPr>
            <p:cNvSpPr txBox="1"/>
            <p:nvPr/>
          </p:nvSpPr>
          <p:spPr>
            <a:xfrm>
              <a:off x="994788" y="3524101"/>
              <a:ext cx="4681629" cy="756239"/>
            </a:xfrm>
            <a:prstGeom prst="rect">
              <a:avLst/>
            </a:prstGeom>
            <a:solidFill>
              <a:srgbClr val="D2D2D2">
                <a:lumMod val="60000"/>
                <a:lumOff val="40000"/>
              </a:srgbClr>
            </a:solidFill>
          </p:spPr>
          <p:txBody>
            <a:bodyPr wrap="square" rtlCol="0">
              <a:spAutoFit/>
            </a:bodyPr>
            <a:lstStyle/>
            <a:p>
              <a:pPr marL="0" marR="0" lvl="0" indent="0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0" cap="none" spc="0" normalizeH="0" baseline="0" noProof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</a:rPr>
                <a:t>Mailbox</a:t>
              </a:r>
              <a:endPara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</a:endParaRPr>
            </a:p>
          </p:txBody>
        </p:sp>
        <p:pic>
          <p:nvPicPr>
            <p:cNvPr id="30" name="Picture 89" descr="Padlock">
              <a:extLst>
                <a:ext uri="{FF2B5EF4-FFF2-40B4-BE49-F238E27FC236}">
                  <a16:creationId xmlns:a16="http://schemas.microsoft.com/office/drawing/2014/main" id="{5B8A7303-F0A7-4312-9961-1146E3F8B7C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63113" y="2991361"/>
              <a:ext cx="211721" cy="305735"/>
            </a:xfrm>
            <a:prstGeom prst="rect">
              <a:avLst/>
            </a:prstGeom>
          </p:spPr>
        </p:pic>
        <p:pic>
          <p:nvPicPr>
            <p:cNvPr id="31" name="Picture 90" descr="Padlock">
              <a:extLst>
                <a:ext uri="{FF2B5EF4-FFF2-40B4-BE49-F238E27FC236}">
                  <a16:creationId xmlns:a16="http://schemas.microsoft.com/office/drawing/2014/main" id="{C822D35B-1A28-4168-95BA-9930B82D23C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63113" y="3496911"/>
              <a:ext cx="211721" cy="305735"/>
            </a:xfrm>
            <a:prstGeom prst="rect">
              <a:avLst/>
            </a:prstGeom>
          </p:spPr>
        </p:pic>
        <p:cxnSp>
          <p:nvCxnSpPr>
            <p:cNvPr id="32" name="Straight Connector 91">
              <a:extLst>
                <a:ext uri="{FF2B5EF4-FFF2-40B4-BE49-F238E27FC236}">
                  <a16:creationId xmlns:a16="http://schemas.microsoft.com/office/drawing/2014/main" id="{21D06BD8-02DE-475F-BD20-613B92397AFE}"/>
                </a:ext>
              </a:extLst>
            </p:cNvPr>
            <p:cNvCxnSpPr>
              <a:cxnSpLocks/>
            </p:cNvCxnSpPr>
            <p:nvPr/>
          </p:nvCxnSpPr>
          <p:spPr>
            <a:xfrm>
              <a:off x="787762" y="4429529"/>
              <a:ext cx="5102352" cy="0"/>
            </a:xfrm>
            <a:prstGeom prst="line">
              <a:avLst/>
            </a:prstGeom>
            <a:noFill/>
            <a:ln w="25400" cap="flat" cmpd="sng" algn="ctr">
              <a:solidFill>
                <a:srgbClr val="FFFFFF"/>
              </a:solidFill>
              <a:prstDash val="solid"/>
            </a:ln>
            <a:effectLst/>
          </p:spPr>
        </p:cxnSp>
        <p:sp>
          <p:nvSpPr>
            <p:cNvPr id="33" name="Oval 92">
              <a:extLst>
                <a:ext uri="{FF2B5EF4-FFF2-40B4-BE49-F238E27FC236}">
                  <a16:creationId xmlns:a16="http://schemas.microsoft.com/office/drawing/2014/main" id="{D5D450FA-28D8-4E59-A96F-FD020227EC24}"/>
                </a:ext>
              </a:extLst>
            </p:cNvPr>
            <p:cNvSpPr/>
            <p:nvPr/>
          </p:nvSpPr>
          <p:spPr>
            <a:xfrm>
              <a:off x="2212452" y="3109023"/>
              <a:ext cx="696302" cy="256031"/>
            </a:xfrm>
            <a:prstGeom prst="ellipse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" name="Oval 93">
              <a:extLst>
                <a:ext uri="{FF2B5EF4-FFF2-40B4-BE49-F238E27FC236}">
                  <a16:creationId xmlns:a16="http://schemas.microsoft.com/office/drawing/2014/main" id="{9C35CE43-7AB8-44BC-B35B-37EDE8CE88A6}"/>
                </a:ext>
              </a:extLst>
            </p:cNvPr>
            <p:cNvSpPr/>
            <p:nvPr/>
          </p:nvSpPr>
          <p:spPr>
            <a:xfrm>
              <a:off x="3366251" y="3109025"/>
              <a:ext cx="696302" cy="256031"/>
            </a:xfrm>
            <a:prstGeom prst="ellipse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" name="Oval 94">
              <a:extLst>
                <a:ext uri="{FF2B5EF4-FFF2-40B4-BE49-F238E27FC236}">
                  <a16:creationId xmlns:a16="http://schemas.microsoft.com/office/drawing/2014/main" id="{6A638919-5A09-4503-93FD-8BC21AC1C029}"/>
                </a:ext>
              </a:extLst>
            </p:cNvPr>
            <p:cNvSpPr/>
            <p:nvPr/>
          </p:nvSpPr>
          <p:spPr>
            <a:xfrm>
              <a:off x="4520051" y="3109025"/>
              <a:ext cx="696302" cy="256031"/>
            </a:xfrm>
            <a:prstGeom prst="ellipse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" name="Oval 95">
              <a:extLst>
                <a:ext uri="{FF2B5EF4-FFF2-40B4-BE49-F238E27FC236}">
                  <a16:creationId xmlns:a16="http://schemas.microsoft.com/office/drawing/2014/main" id="{31291AD7-42E1-4B97-B473-D91F0775BDB6}"/>
                </a:ext>
              </a:extLst>
            </p:cNvPr>
            <p:cNvSpPr/>
            <p:nvPr/>
          </p:nvSpPr>
          <p:spPr>
            <a:xfrm>
              <a:off x="2212452" y="3645121"/>
              <a:ext cx="696302" cy="256031"/>
            </a:xfrm>
            <a:prstGeom prst="ellipse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" name="Oval 96">
              <a:extLst>
                <a:ext uri="{FF2B5EF4-FFF2-40B4-BE49-F238E27FC236}">
                  <a16:creationId xmlns:a16="http://schemas.microsoft.com/office/drawing/2014/main" id="{3F650D61-57EF-4706-A8F8-AE278FCC1261}"/>
                </a:ext>
              </a:extLst>
            </p:cNvPr>
            <p:cNvSpPr/>
            <p:nvPr/>
          </p:nvSpPr>
          <p:spPr>
            <a:xfrm>
              <a:off x="3366251" y="3645121"/>
              <a:ext cx="696302" cy="256031"/>
            </a:xfrm>
            <a:prstGeom prst="ellipse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" name="Oval 97">
              <a:extLst>
                <a:ext uri="{FF2B5EF4-FFF2-40B4-BE49-F238E27FC236}">
                  <a16:creationId xmlns:a16="http://schemas.microsoft.com/office/drawing/2014/main" id="{DECD7FCF-EB08-4122-8A1B-F1B63E45EA58}"/>
                </a:ext>
              </a:extLst>
            </p:cNvPr>
            <p:cNvSpPr/>
            <p:nvPr/>
          </p:nvSpPr>
          <p:spPr>
            <a:xfrm>
              <a:off x="4520051" y="3645121"/>
              <a:ext cx="696302" cy="256031"/>
            </a:xfrm>
            <a:prstGeom prst="ellipse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39" name="Group 98">
            <a:extLst>
              <a:ext uri="{FF2B5EF4-FFF2-40B4-BE49-F238E27FC236}">
                <a16:creationId xmlns:a16="http://schemas.microsoft.com/office/drawing/2014/main" id="{391B49B5-04C2-435D-8D6E-198B903990DA}"/>
              </a:ext>
            </a:extLst>
          </p:cNvPr>
          <p:cNvGrpSpPr/>
          <p:nvPr/>
        </p:nvGrpSpPr>
        <p:grpSpPr>
          <a:xfrm>
            <a:off x="9150668" y="3658871"/>
            <a:ext cx="1785452" cy="1352856"/>
            <a:chOff x="505609" y="2226833"/>
            <a:chExt cx="5690796" cy="4432150"/>
          </a:xfrm>
        </p:grpSpPr>
        <p:sp>
          <p:nvSpPr>
            <p:cNvPr id="40" name="Rectangle 99">
              <a:extLst>
                <a:ext uri="{FF2B5EF4-FFF2-40B4-BE49-F238E27FC236}">
                  <a16:creationId xmlns:a16="http://schemas.microsoft.com/office/drawing/2014/main" id="{781B81E8-CED1-42DB-B223-9EDB5CA114D3}"/>
                </a:ext>
              </a:extLst>
            </p:cNvPr>
            <p:cNvSpPr/>
            <p:nvPr/>
          </p:nvSpPr>
          <p:spPr>
            <a:xfrm>
              <a:off x="505609" y="2226833"/>
              <a:ext cx="5690796" cy="4432150"/>
            </a:xfrm>
            <a:prstGeom prst="rect">
              <a:avLst/>
            </a:prstGeom>
            <a:solidFill>
              <a:srgbClr val="E6E6E6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76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" name="Rectangle 100">
              <a:extLst>
                <a:ext uri="{FF2B5EF4-FFF2-40B4-BE49-F238E27FC236}">
                  <a16:creationId xmlns:a16="http://schemas.microsoft.com/office/drawing/2014/main" id="{FB7D20D8-3C3F-4806-ACBA-E628FF971B08}"/>
                </a:ext>
              </a:extLst>
            </p:cNvPr>
            <p:cNvSpPr/>
            <p:nvPr/>
          </p:nvSpPr>
          <p:spPr>
            <a:xfrm>
              <a:off x="782760" y="2565766"/>
              <a:ext cx="5104539" cy="2286000"/>
            </a:xfrm>
            <a:prstGeom prst="rect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t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" name="Rectangle 101">
              <a:extLst>
                <a:ext uri="{FF2B5EF4-FFF2-40B4-BE49-F238E27FC236}">
                  <a16:creationId xmlns:a16="http://schemas.microsoft.com/office/drawing/2014/main" id="{06DD31FF-6956-4F84-8D30-8070BD980457}"/>
                </a:ext>
              </a:extLst>
            </p:cNvPr>
            <p:cNvSpPr/>
            <p:nvPr/>
          </p:nvSpPr>
          <p:spPr>
            <a:xfrm>
              <a:off x="782760" y="5109891"/>
              <a:ext cx="5104539" cy="494852"/>
            </a:xfrm>
            <a:prstGeom prst="rect">
              <a:avLst/>
            </a:prstGeom>
            <a:solidFill>
              <a:srgbClr val="7030A0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" name="Rectangle 102">
              <a:extLst>
                <a:ext uri="{FF2B5EF4-FFF2-40B4-BE49-F238E27FC236}">
                  <a16:creationId xmlns:a16="http://schemas.microsoft.com/office/drawing/2014/main" id="{4F89ED60-1566-4817-9981-0A78D579EBDB}"/>
                </a:ext>
              </a:extLst>
            </p:cNvPr>
            <p:cNvSpPr/>
            <p:nvPr/>
          </p:nvSpPr>
          <p:spPr>
            <a:xfrm>
              <a:off x="782760" y="5862868"/>
              <a:ext cx="5104539" cy="494852"/>
            </a:xfrm>
            <a:prstGeom prst="rect">
              <a:avLst/>
            </a:prstGeom>
            <a:solidFill>
              <a:srgbClr val="7030A0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44" name="Picture 103" descr="Padlock">
              <a:extLst>
                <a:ext uri="{FF2B5EF4-FFF2-40B4-BE49-F238E27FC236}">
                  <a16:creationId xmlns:a16="http://schemas.microsoft.com/office/drawing/2014/main" id="{3DE1016B-6B24-4995-81CB-55E335F22D0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75578" y="5875203"/>
              <a:ext cx="211721" cy="305735"/>
            </a:xfrm>
            <a:prstGeom prst="rect">
              <a:avLst/>
            </a:prstGeom>
          </p:spPr>
        </p:pic>
        <p:sp>
          <p:nvSpPr>
            <p:cNvPr id="45" name="TextBox 104">
              <a:extLst>
                <a:ext uri="{FF2B5EF4-FFF2-40B4-BE49-F238E27FC236}">
                  <a16:creationId xmlns:a16="http://schemas.microsoft.com/office/drawing/2014/main" id="{5B09679F-48D1-4721-9CBF-9F92DCBFBFCA}"/>
                </a:ext>
              </a:extLst>
            </p:cNvPr>
            <p:cNvSpPr txBox="1"/>
            <p:nvPr/>
          </p:nvSpPr>
          <p:spPr>
            <a:xfrm>
              <a:off x="994788" y="2988851"/>
              <a:ext cx="4680048" cy="756239"/>
            </a:xfrm>
            <a:prstGeom prst="rect">
              <a:avLst/>
            </a:prstGeom>
            <a:solidFill>
              <a:srgbClr val="D2D2D2">
                <a:lumMod val="60000"/>
                <a:lumOff val="40000"/>
              </a:srgbClr>
            </a:solidFill>
          </p:spPr>
          <p:txBody>
            <a:bodyPr wrap="square" rtlCol="0">
              <a:spAutoFit/>
            </a:bodyPr>
            <a:lstStyle/>
            <a:p>
              <a:pPr marL="0" marR="0" lvl="0" indent="0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46" name="TextBox 105">
              <a:extLst>
                <a:ext uri="{FF2B5EF4-FFF2-40B4-BE49-F238E27FC236}">
                  <a16:creationId xmlns:a16="http://schemas.microsoft.com/office/drawing/2014/main" id="{DE52D1CD-115F-4A21-B7E5-B2A105C68E0E}"/>
                </a:ext>
              </a:extLst>
            </p:cNvPr>
            <p:cNvSpPr txBox="1"/>
            <p:nvPr/>
          </p:nvSpPr>
          <p:spPr>
            <a:xfrm>
              <a:off x="994788" y="3524101"/>
              <a:ext cx="4681629" cy="756239"/>
            </a:xfrm>
            <a:prstGeom prst="rect">
              <a:avLst/>
            </a:prstGeom>
            <a:solidFill>
              <a:srgbClr val="D2D2D2">
                <a:lumMod val="60000"/>
                <a:lumOff val="40000"/>
              </a:srgbClr>
            </a:solidFill>
          </p:spPr>
          <p:txBody>
            <a:bodyPr wrap="square" rtlCol="0">
              <a:spAutoFit/>
            </a:bodyPr>
            <a:lstStyle/>
            <a:p>
              <a:pPr marL="0" marR="0" lvl="0" indent="0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</a:endParaRPr>
            </a:p>
          </p:txBody>
        </p:sp>
        <p:pic>
          <p:nvPicPr>
            <p:cNvPr id="47" name="Picture 106" descr="Padlock">
              <a:extLst>
                <a:ext uri="{FF2B5EF4-FFF2-40B4-BE49-F238E27FC236}">
                  <a16:creationId xmlns:a16="http://schemas.microsoft.com/office/drawing/2014/main" id="{90DB1263-E908-4988-BC6C-D7ECEA7E03A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63113" y="2991361"/>
              <a:ext cx="211721" cy="305735"/>
            </a:xfrm>
            <a:prstGeom prst="rect">
              <a:avLst/>
            </a:prstGeom>
          </p:spPr>
        </p:pic>
        <p:pic>
          <p:nvPicPr>
            <p:cNvPr id="48" name="Picture 107" descr="Padlock">
              <a:extLst>
                <a:ext uri="{FF2B5EF4-FFF2-40B4-BE49-F238E27FC236}">
                  <a16:creationId xmlns:a16="http://schemas.microsoft.com/office/drawing/2014/main" id="{72275BEE-F456-4A90-95F1-D8A0B1AB4C7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63113" y="3496911"/>
              <a:ext cx="211721" cy="305735"/>
            </a:xfrm>
            <a:prstGeom prst="rect">
              <a:avLst/>
            </a:prstGeom>
          </p:spPr>
        </p:pic>
        <p:cxnSp>
          <p:nvCxnSpPr>
            <p:cNvPr id="49" name="Straight Connector 108">
              <a:extLst>
                <a:ext uri="{FF2B5EF4-FFF2-40B4-BE49-F238E27FC236}">
                  <a16:creationId xmlns:a16="http://schemas.microsoft.com/office/drawing/2014/main" id="{5FDED348-F2C9-4AE9-836F-9C42E7A6AC00}"/>
                </a:ext>
              </a:extLst>
            </p:cNvPr>
            <p:cNvCxnSpPr>
              <a:cxnSpLocks/>
            </p:cNvCxnSpPr>
            <p:nvPr/>
          </p:nvCxnSpPr>
          <p:spPr>
            <a:xfrm>
              <a:off x="787762" y="4429529"/>
              <a:ext cx="5102352" cy="0"/>
            </a:xfrm>
            <a:prstGeom prst="line">
              <a:avLst/>
            </a:prstGeom>
            <a:noFill/>
            <a:ln w="25400" cap="flat" cmpd="sng" algn="ctr">
              <a:solidFill>
                <a:srgbClr val="FFFFFF"/>
              </a:solidFill>
              <a:prstDash val="solid"/>
            </a:ln>
            <a:effectLst/>
          </p:spPr>
        </p:cxnSp>
        <p:sp>
          <p:nvSpPr>
            <p:cNvPr id="50" name="Oval 109">
              <a:extLst>
                <a:ext uri="{FF2B5EF4-FFF2-40B4-BE49-F238E27FC236}">
                  <a16:creationId xmlns:a16="http://schemas.microsoft.com/office/drawing/2014/main" id="{5B95665D-10AA-49D4-A0A9-F9060D2DA492}"/>
                </a:ext>
              </a:extLst>
            </p:cNvPr>
            <p:cNvSpPr/>
            <p:nvPr/>
          </p:nvSpPr>
          <p:spPr>
            <a:xfrm>
              <a:off x="2212452" y="3109023"/>
              <a:ext cx="696302" cy="256031"/>
            </a:xfrm>
            <a:prstGeom prst="ellipse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" name="Oval 110">
              <a:extLst>
                <a:ext uri="{FF2B5EF4-FFF2-40B4-BE49-F238E27FC236}">
                  <a16:creationId xmlns:a16="http://schemas.microsoft.com/office/drawing/2014/main" id="{0D8805D8-B719-47DD-A4E5-047C98F400D5}"/>
                </a:ext>
              </a:extLst>
            </p:cNvPr>
            <p:cNvSpPr/>
            <p:nvPr/>
          </p:nvSpPr>
          <p:spPr>
            <a:xfrm>
              <a:off x="3366251" y="3109025"/>
              <a:ext cx="696302" cy="256031"/>
            </a:xfrm>
            <a:prstGeom prst="ellipse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" name="Oval 111">
              <a:extLst>
                <a:ext uri="{FF2B5EF4-FFF2-40B4-BE49-F238E27FC236}">
                  <a16:creationId xmlns:a16="http://schemas.microsoft.com/office/drawing/2014/main" id="{7C20E34F-687E-41C9-9A72-B64C84167C6A}"/>
                </a:ext>
              </a:extLst>
            </p:cNvPr>
            <p:cNvSpPr/>
            <p:nvPr/>
          </p:nvSpPr>
          <p:spPr>
            <a:xfrm>
              <a:off x="4520051" y="3109025"/>
              <a:ext cx="696302" cy="256031"/>
            </a:xfrm>
            <a:prstGeom prst="ellipse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" name="Oval 112">
              <a:extLst>
                <a:ext uri="{FF2B5EF4-FFF2-40B4-BE49-F238E27FC236}">
                  <a16:creationId xmlns:a16="http://schemas.microsoft.com/office/drawing/2014/main" id="{F6D1AD72-B419-4BD2-B735-2B615CC51905}"/>
                </a:ext>
              </a:extLst>
            </p:cNvPr>
            <p:cNvSpPr/>
            <p:nvPr/>
          </p:nvSpPr>
          <p:spPr>
            <a:xfrm>
              <a:off x="2212452" y="3645121"/>
              <a:ext cx="696302" cy="256031"/>
            </a:xfrm>
            <a:prstGeom prst="ellipse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" name="Oval 119">
              <a:extLst>
                <a:ext uri="{FF2B5EF4-FFF2-40B4-BE49-F238E27FC236}">
                  <a16:creationId xmlns:a16="http://schemas.microsoft.com/office/drawing/2014/main" id="{59D06D6B-8480-4215-B570-5503A0D2655C}"/>
                </a:ext>
              </a:extLst>
            </p:cNvPr>
            <p:cNvSpPr/>
            <p:nvPr/>
          </p:nvSpPr>
          <p:spPr>
            <a:xfrm>
              <a:off x="3366251" y="3645121"/>
              <a:ext cx="696302" cy="256031"/>
            </a:xfrm>
            <a:prstGeom prst="ellipse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" name="Oval 120">
              <a:extLst>
                <a:ext uri="{FF2B5EF4-FFF2-40B4-BE49-F238E27FC236}">
                  <a16:creationId xmlns:a16="http://schemas.microsoft.com/office/drawing/2014/main" id="{425F537C-74F2-42B1-A79A-6C2CEA2970FB}"/>
                </a:ext>
              </a:extLst>
            </p:cNvPr>
            <p:cNvSpPr/>
            <p:nvPr/>
          </p:nvSpPr>
          <p:spPr>
            <a:xfrm>
              <a:off x="4520051" y="3645121"/>
              <a:ext cx="696302" cy="256031"/>
            </a:xfrm>
            <a:prstGeom prst="ellipse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56" name="Group 2">
            <a:extLst>
              <a:ext uri="{FF2B5EF4-FFF2-40B4-BE49-F238E27FC236}">
                <a16:creationId xmlns:a16="http://schemas.microsoft.com/office/drawing/2014/main" id="{09F68792-423A-4176-BE91-FA7FC7A88A96}"/>
              </a:ext>
            </a:extLst>
          </p:cNvPr>
          <p:cNvGrpSpPr/>
          <p:nvPr/>
        </p:nvGrpSpPr>
        <p:grpSpPr>
          <a:xfrm>
            <a:off x="4029555" y="3672614"/>
            <a:ext cx="3818494" cy="2888710"/>
            <a:chOff x="505609" y="2226833"/>
            <a:chExt cx="5690796" cy="4432150"/>
          </a:xfrm>
        </p:grpSpPr>
        <p:sp>
          <p:nvSpPr>
            <p:cNvPr id="57" name="Rectangle 11">
              <a:extLst>
                <a:ext uri="{FF2B5EF4-FFF2-40B4-BE49-F238E27FC236}">
                  <a16:creationId xmlns:a16="http://schemas.microsoft.com/office/drawing/2014/main" id="{F0D23161-135A-4AF1-BB75-76C5570F5AE3}"/>
                </a:ext>
              </a:extLst>
            </p:cNvPr>
            <p:cNvSpPr/>
            <p:nvPr/>
          </p:nvSpPr>
          <p:spPr>
            <a:xfrm>
              <a:off x="505609" y="2226833"/>
              <a:ext cx="5690796" cy="4432150"/>
            </a:xfrm>
            <a:prstGeom prst="rect">
              <a:avLst/>
            </a:prstGeom>
            <a:solidFill>
              <a:srgbClr val="E6E6E6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76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" name="Rectangle 17">
              <a:extLst>
                <a:ext uri="{FF2B5EF4-FFF2-40B4-BE49-F238E27FC236}">
                  <a16:creationId xmlns:a16="http://schemas.microsoft.com/office/drawing/2014/main" id="{08A83926-97E0-4CB6-BC56-C92F6B3769A9}"/>
                </a:ext>
              </a:extLst>
            </p:cNvPr>
            <p:cNvSpPr/>
            <p:nvPr/>
          </p:nvSpPr>
          <p:spPr>
            <a:xfrm>
              <a:off x="782760" y="2565766"/>
              <a:ext cx="5104539" cy="2286000"/>
            </a:xfrm>
            <a:prstGeom prst="rect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t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br>
                <a:rPr kumimoji="0" lang="de-DE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</a:br>
              <a:br>
                <a:rPr kumimoji="0" lang="de-DE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</a:b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Managed Store</a:t>
              </a:r>
            </a:p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ESE</a:t>
              </a:r>
            </a:p>
          </p:txBody>
        </p:sp>
        <p:sp>
          <p:nvSpPr>
            <p:cNvPr id="59" name="Rectangle 5">
              <a:extLst>
                <a:ext uri="{FF2B5EF4-FFF2-40B4-BE49-F238E27FC236}">
                  <a16:creationId xmlns:a16="http://schemas.microsoft.com/office/drawing/2014/main" id="{F4249D3C-4940-4FF7-AA8A-2C36009823B5}"/>
                </a:ext>
              </a:extLst>
            </p:cNvPr>
            <p:cNvSpPr/>
            <p:nvPr/>
          </p:nvSpPr>
          <p:spPr>
            <a:xfrm>
              <a:off x="782760" y="5109891"/>
              <a:ext cx="5104539" cy="494852"/>
            </a:xfrm>
            <a:prstGeom prst="rect">
              <a:avLst/>
            </a:prstGeom>
            <a:solidFill>
              <a:srgbClr val="7030A0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File System</a:t>
              </a:r>
            </a:p>
          </p:txBody>
        </p:sp>
        <p:sp>
          <p:nvSpPr>
            <p:cNvPr id="60" name="Rectangle 113">
              <a:extLst>
                <a:ext uri="{FF2B5EF4-FFF2-40B4-BE49-F238E27FC236}">
                  <a16:creationId xmlns:a16="http://schemas.microsoft.com/office/drawing/2014/main" id="{81C9ADC1-2CE7-4682-A319-6793A5EBA916}"/>
                </a:ext>
              </a:extLst>
            </p:cNvPr>
            <p:cNvSpPr/>
            <p:nvPr/>
          </p:nvSpPr>
          <p:spPr>
            <a:xfrm>
              <a:off x="782760" y="5862868"/>
              <a:ext cx="5104539" cy="494852"/>
            </a:xfrm>
            <a:prstGeom prst="rect">
              <a:avLst/>
            </a:prstGeom>
            <a:solidFill>
              <a:srgbClr val="7030A0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BitLocker</a:t>
              </a:r>
            </a:p>
          </p:txBody>
        </p:sp>
        <p:pic>
          <p:nvPicPr>
            <p:cNvPr id="61" name="Picture 114" descr="Padlock">
              <a:extLst>
                <a:ext uri="{FF2B5EF4-FFF2-40B4-BE49-F238E27FC236}">
                  <a16:creationId xmlns:a16="http://schemas.microsoft.com/office/drawing/2014/main" id="{5A97170D-FCE1-46EE-A1E5-35E5A8AAAB5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75578" y="5875203"/>
              <a:ext cx="211721" cy="305735"/>
            </a:xfrm>
            <a:prstGeom prst="rect">
              <a:avLst/>
            </a:prstGeom>
          </p:spPr>
        </p:pic>
        <p:sp>
          <p:nvSpPr>
            <p:cNvPr id="62" name="TextBox 115">
              <a:extLst>
                <a:ext uri="{FF2B5EF4-FFF2-40B4-BE49-F238E27FC236}">
                  <a16:creationId xmlns:a16="http://schemas.microsoft.com/office/drawing/2014/main" id="{24341E35-70FD-4129-9826-7F588729EDA1}"/>
                </a:ext>
              </a:extLst>
            </p:cNvPr>
            <p:cNvSpPr txBox="1"/>
            <p:nvPr/>
          </p:nvSpPr>
          <p:spPr>
            <a:xfrm>
              <a:off x="994787" y="2907282"/>
              <a:ext cx="4680047" cy="401388"/>
            </a:xfrm>
            <a:prstGeom prst="rect">
              <a:avLst/>
            </a:prstGeom>
            <a:solidFill>
              <a:srgbClr val="D2D2D2">
                <a:lumMod val="60000"/>
                <a:lumOff val="40000"/>
              </a:srgbClr>
            </a:solidFill>
          </p:spPr>
          <p:txBody>
            <a:bodyPr wrap="square" rtlCol="0">
              <a:spAutoFit/>
            </a:bodyPr>
            <a:lstStyle/>
            <a:p>
              <a:pPr marL="0" marR="0" lvl="0" indent="0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</a:rPr>
                <a:t>Mailbox</a:t>
              </a:r>
            </a:p>
          </p:txBody>
        </p:sp>
        <p:sp>
          <p:nvSpPr>
            <p:cNvPr id="63" name="TextBox 116">
              <a:extLst>
                <a:ext uri="{FF2B5EF4-FFF2-40B4-BE49-F238E27FC236}">
                  <a16:creationId xmlns:a16="http://schemas.microsoft.com/office/drawing/2014/main" id="{10759A39-52EB-4C11-9484-7B43D00FB933}"/>
                </a:ext>
              </a:extLst>
            </p:cNvPr>
            <p:cNvSpPr txBox="1"/>
            <p:nvPr/>
          </p:nvSpPr>
          <p:spPr>
            <a:xfrm>
              <a:off x="994787" y="3375797"/>
              <a:ext cx="4681630" cy="401388"/>
            </a:xfrm>
            <a:prstGeom prst="rect">
              <a:avLst/>
            </a:prstGeom>
            <a:solidFill>
              <a:srgbClr val="D2D2D2">
                <a:lumMod val="60000"/>
                <a:lumOff val="40000"/>
              </a:srgbClr>
            </a:solidFill>
          </p:spPr>
          <p:txBody>
            <a:bodyPr wrap="square" rtlCol="0" anchor="ctr">
              <a:spAutoFit/>
            </a:bodyPr>
            <a:lstStyle/>
            <a:p>
              <a:pPr marL="0" marR="0" lvl="0" indent="0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1A1A1A"/>
                  </a:solidFill>
                  <a:effectLst/>
                  <a:uLnTx/>
                  <a:uFillTx/>
                  <a:latin typeface="Segoe UI"/>
                </a:rPr>
                <a:t>Mailbox</a:t>
              </a:r>
            </a:p>
          </p:txBody>
        </p:sp>
        <p:pic>
          <p:nvPicPr>
            <p:cNvPr id="64" name="Picture 117" descr="Padlock">
              <a:extLst>
                <a:ext uri="{FF2B5EF4-FFF2-40B4-BE49-F238E27FC236}">
                  <a16:creationId xmlns:a16="http://schemas.microsoft.com/office/drawing/2014/main" id="{9B95609C-5F35-4600-A744-426749373FC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63113" y="2909790"/>
              <a:ext cx="211721" cy="305736"/>
            </a:xfrm>
            <a:prstGeom prst="rect">
              <a:avLst/>
            </a:prstGeom>
          </p:spPr>
        </p:pic>
        <p:pic>
          <p:nvPicPr>
            <p:cNvPr id="65" name="Picture 118" descr="Padlock">
              <a:extLst>
                <a:ext uri="{FF2B5EF4-FFF2-40B4-BE49-F238E27FC236}">
                  <a16:creationId xmlns:a16="http://schemas.microsoft.com/office/drawing/2014/main" id="{1A20E820-2BF1-4821-96BA-B1A39854CAA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63113" y="3415339"/>
              <a:ext cx="211721" cy="305736"/>
            </a:xfrm>
            <a:prstGeom prst="rect">
              <a:avLst/>
            </a:prstGeom>
          </p:spPr>
        </p:pic>
        <p:cxnSp>
          <p:nvCxnSpPr>
            <p:cNvPr id="66" name="Straight Connector 7">
              <a:extLst>
                <a:ext uri="{FF2B5EF4-FFF2-40B4-BE49-F238E27FC236}">
                  <a16:creationId xmlns:a16="http://schemas.microsoft.com/office/drawing/2014/main" id="{2528A306-2450-490E-ABC2-0BB13EE29650}"/>
                </a:ext>
              </a:extLst>
            </p:cNvPr>
            <p:cNvCxnSpPr>
              <a:cxnSpLocks/>
            </p:cNvCxnSpPr>
            <p:nvPr/>
          </p:nvCxnSpPr>
          <p:spPr>
            <a:xfrm>
              <a:off x="787762" y="4364272"/>
              <a:ext cx="5102352" cy="0"/>
            </a:xfrm>
            <a:prstGeom prst="line">
              <a:avLst/>
            </a:prstGeom>
            <a:noFill/>
            <a:ln w="25400" cap="flat" cmpd="sng" algn="ctr">
              <a:solidFill>
                <a:srgbClr val="FFFFFF"/>
              </a:solidFill>
              <a:prstDash val="solid"/>
            </a:ln>
            <a:effectLst/>
          </p:spPr>
        </p:cxnSp>
        <p:sp>
          <p:nvSpPr>
            <p:cNvPr id="67" name="Oval 56">
              <a:extLst>
                <a:ext uri="{FF2B5EF4-FFF2-40B4-BE49-F238E27FC236}">
                  <a16:creationId xmlns:a16="http://schemas.microsoft.com/office/drawing/2014/main" id="{55C124C0-2B5D-403A-85A0-34320BB20EC6}"/>
                </a:ext>
              </a:extLst>
            </p:cNvPr>
            <p:cNvSpPr/>
            <p:nvPr/>
          </p:nvSpPr>
          <p:spPr>
            <a:xfrm>
              <a:off x="2162328" y="2963506"/>
              <a:ext cx="696301" cy="256032"/>
            </a:xfrm>
            <a:prstGeom prst="ellipse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" name="Oval 57">
              <a:extLst>
                <a:ext uri="{FF2B5EF4-FFF2-40B4-BE49-F238E27FC236}">
                  <a16:creationId xmlns:a16="http://schemas.microsoft.com/office/drawing/2014/main" id="{9678DCC1-5B6F-4DC1-8286-5B02F7CA789B}"/>
                </a:ext>
              </a:extLst>
            </p:cNvPr>
            <p:cNvSpPr/>
            <p:nvPr/>
          </p:nvSpPr>
          <p:spPr>
            <a:xfrm>
              <a:off x="3316129" y="2963508"/>
              <a:ext cx="696301" cy="256032"/>
            </a:xfrm>
            <a:prstGeom prst="ellipse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" name="Oval 58">
              <a:extLst>
                <a:ext uri="{FF2B5EF4-FFF2-40B4-BE49-F238E27FC236}">
                  <a16:creationId xmlns:a16="http://schemas.microsoft.com/office/drawing/2014/main" id="{B8E5794B-BCD0-4F5E-93B4-F68EF2C964BC}"/>
                </a:ext>
              </a:extLst>
            </p:cNvPr>
            <p:cNvSpPr/>
            <p:nvPr/>
          </p:nvSpPr>
          <p:spPr>
            <a:xfrm>
              <a:off x="4469929" y="2963508"/>
              <a:ext cx="696301" cy="256032"/>
            </a:xfrm>
            <a:prstGeom prst="ellipse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" name="Oval 59">
              <a:extLst>
                <a:ext uri="{FF2B5EF4-FFF2-40B4-BE49-F238E27FC236}">
                  <a16:creationId xmlns:a16="http://schemas.microsoft.com/office/drawing/2014/main" id="{429BA588-CFFD-4779-B12C-F1058B9F3609}"/>
                </a:ext>
              </a:extLst>
            </p:cNvPr>
            <p:cNvSpPr/>
            <p:nvPr/>
          </p:nvSpPr>
          <p:spPr>
            <a:xfrm>
              <a:off x="2162328" y="3456732"/>
              <a:ext cx="696301" cy="256032"/>
            </a:xfrm>
            <a:prstGeom prst="ellipse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" name="Oval 60">
              <a:extLst>
                <a:ext uri="{FF2B5EF4-FFF2-40B4-BE49-F238E27FC236}">
                  <a16:creationId xmlns:a16="http://schemas.microsoft.com/office/drawing/2014/main" id="{1E156875-94A0-47DE-9825-76ED3A9F09EB}"/>
                </a:ext>
              </a:extLst>
            </p:cNvPr>
            <p:cNvSpPr/>
            <p:nvPr/>
          </p:nvSpPr>
          <p:spPr>
            <a:xfrm>
              <a:off x="3316129" y="3456733"/>
              <a:ext cx="696301" cy="256032"/>
            </a:xfrm>
            <a:prstGeom prst="ellipse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" name="Oval 61">
              <a:extLst>
                <a:ext uri="{FF2B5EF4-FFF2-40B4-BE49-F238E27FC236}">
                  <a16:creationId xmlns:a16="http://schemas.microsoft.com/office/drawing/2014/main" id="{E767ED92-B7DC-423F-9511-1D5F8C3D3574}"/>
                </a:ext>
              </a:extLst>
            </p:cNvPr>
            <p:cNvSpPr/>
            <p:nvPr/>
          </p:nvSpPr>
          <p:spPr>
            <a:xfrm>
              <a:off x="4469929" y="3456733"/>
              <a:ext cx="696301" cy="256032"/>
            </a:xfrm>
            <a:prstGeom prst="ellipse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73" name="Right Arrow 8">
            <a:extLst>
              <a:ext uri="{FF2B5EF4-FFF2-40B4-BE49-F238E27FC236}">
                <a16:creationId xmlns:a16="http://schemas.microsoft.com/office/drawing/2014/main" id="{6B8A3B69-F8E5-403B-9A81-038D693ABD23}"/>
              </a:ext>
            </a:extLst>
          </p:cNvPr>
          <p:cNvSpPr/>
          <p:nvPr/>
        </p:nvSpPr>
        <p:spPr>
          <a:xfrm rot="19823126">
            <a:off x="7588466" y="4736159"/>
            <a:ext cx="1718633" cy="159667"/>
          </a:xfrm>
          <a:prstGeom prst="rightArrow">
            <a:avLst/>
          </a:prstGeom>
          <a:solidFill>
            <a:srgbClr val="FFC000"/>
          </a:solidFill>
          <a:ln w="10795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6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4" name="Rectangle 176">
            <a:extLst>
              <a:ext uri="{FF2B5EF4-FFF2-40B4-BE49-F238E27FC236}">
                <a16:creationId xmlns:a16="http://schemas.microsoft.com/office/drawing/2014/main" id="{B0534B11-814E-4AD9-AE56-DBC2FED68A07}"/>
              </a:ext>
            </a:extLst>
          </p:cNvPr>
          <p:cNvSpPr/>
          <p:nvPr/>
        </p:nvSpPr>
        <p:spPr>
          <a:xfrm>
            <a:off x="5322007" y="1638741"/>
            <a:ext cx="1645549" cy="1091638"/>
          </a:xfrm>
          <a:prstGeom prst="rect">
            <a:avLst/>
          </a:prstGeom>
          <a:solidFill>
            <a:srgbClr val="0078D4"/>
          </a:solidFill>
          <a:ln w="10795" cap="flat" cmpd="sng" algn="ctr">
            <a:solidFill>
              <a:srgbClr val="0078D4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rotokolle</a:t>
            </a:r>
          </a:p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(SMTP, OWA, Outlook, REST, usw.)</a:t>
            </a:r>
          </a:p>
        </p:txBody>
      </p:sp>
      <p:grpSp>
        <p:nvGrpSpPr>
          <p:cNvPr id="75" name="Group 177">
            <a:extLst>
              <a:ext uri="{FF2B5EF4-FFF2-40B4-BE49-F238E27FC236}">
                <a16:creationId xmlns:a16="http://schemas.microsoft.com/office/drawing/2014/main" id="{77F021BE-2BD0-4A21-A7A4-6D1295AB5547}"/>
              </a:ext>
            </a:extLst>
          </p:cNvPr>
          <p:cNvGrpSpPr/>
          <p:nvPr/>
        </p:nvGrpSpPr>
        <p:grpSpPr>
          <a:xfrm>
            <a:off x="4196234" y="796595"/>
            <a:ext cx="678873" cy="415203"/>
            <a:chOff x="-48495" y="-1"/>
            <a:chExt cx="12240494" cy="6927274"/>
          </a:xfrm>
        </p:grpSpPr>
        <p:sp>
          <p:nvSpPr>
            <p:cNvPr id="76" name="Rectangle 178">
              <a:extLst>
                <a:ext uri="{FF2B5EF4-FFF2-40B4-BE49-F238E27FC236}">
                  <a16:creationId xmlns:a16="http://schemas.microsoft.com/office/drawing/2014/main" id="{2FF4152D-4100-44A5-B7FF-7C5583EEB81C}"/>
                </a:ext>
              </a:extLst>
            </p:cNvPr>
            <p:cNvSpPr/>
            <p:nvPr/>
          </p:nvSpPr>
          <p:spPr>
            <a:xfrm flipH="1">
              <a:off x="-48493" y="0"/>
              <a:ext cx="12240492" cy="6927273"/>
            </a:xfrm>
            <a:prstGeom prst="rect">
              <a:avLst/>
            </a:prstGeom>
            <a:solidFill>
              <a:srgbClr val="F37521">
                <a:lumMod val="40000"/>
                <a:lumOff val="60000"/>
              </a:srgbClr>
            </a:solidFill>
            <a:ln w="9000" cap="flat" cmpd="sng" algn="ctr">
              <a:solidFill>
                <a:srgbClr val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765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" name="Isosceles Triangle 179">
              <a:extLst>
                <a:ext uri="{FF2B5EF4-FFF2-40B4-BE49-F238E27FC236}">
                  <a16:creationId xmlns:a16="http://schemas.microsoft.com/office/drawing/2014/main" id="{BC269410-790F-4A5A-9013-FE886CD3B3C9}"/>
                </a:ext>
              </a:extLst>
            </p:cNvPr>
            <p:cNvSpPr/>
            <p:nvPr/>
          </p:nvSpPr>
          <p:spPr>
            <a:xfrm rot="10800000">
              <a:off x="-48495" y="-1"/>
              <a:ext cx="12240493" cy="3422073"/>
            </a:xfrm>
            <a:prstGeom prst="triangle">
              <a:avLst>
                <a:gd name="adj" fmla="val 49825"/>
              </a:avLst>
            </a:prstGeom>
            <a:solidFill>
              <a:srgbClr val="F37521">
                <a:lumMod val="60000"/>
                <a:lumOff val="40000"/>
              </a:srgbClr>
            </a:solidFill>
            <a:ln w="9000" cap="flat" cmpd="sng" algn="ctr">
              <a:solidFill>
                <a:srgbClr val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765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78" name="Group 180">
            <a:extLst>
              <a:ext uri="{FF2B5EF4-FFF2-40B4-BE49-F238E27FC236}">
                <a16:creationId xmlns:a16="http://schemas.microsoft.com/office/drawing/2014/main" id="{D6A367BB-CAAA-470A-814F-E6C97666C81A}"/>
              </a:ext>
            </a:extLst>
          </p:cNvPr>
          <p:cNvGrpSpPr/>
          <p:nvPr/>
        </p:nvGrpSpPr>
        <p:grpSpPr>
          <a:xfrm>
            <a:off x="4495526" y="2534156"/>
            <a:ext cx="678873" cy="415203"/>
            <a:chOff x="3129967" y="2898429"/>
            <a:chExt cx="678873" cy="415203"/>
          </a:xfrm>
        </p:grpSpPr>
        <p:grpSp>
          <p:nvGrpSpPr>
            <p:cNvPr id="79" name="Group 181">
              <a:extLst>
                <a:ext uri="{FF2B5EF4-FFF2-40B4-BE49-F238E27FC236}">
                  <a16:creationId xmlns:a16="http://schemas.microsoft.com/office/drawing/2014/main" id="{6B627C92-3949-4EE7-BED5-F2DD028883DE}"/>
                </a:ext>
              </a:extLst>
            </p:cNvPr>
            <p:cNvGrpSpPr/>
            <p:nvPr/>
          </p:nvGrpSpPr>
          <p:grpSpPr>
            <a:xfrm>
              <a:off x="3129967" y="2898429"/>
              <a:ext cx="678873" cy="415203"/>
              <a:chOff x="-48495" y="0"/>
              <a:chExt cx="12240494" cy="6927273"/>
            </a:xfrm>
          </p:grpSpPr>
          <p:sp>
            <p:nvSpPr>
              <p:cNvPr id="81" name="Rectangle 183">
                <a:extLst>
                  <a:ext uri="{FF2B5EF4-FFF2-40B4-BE49-F238E27FC236}">
                    <a16:creationId xmlns:a16="http://schemas.microsoft.com/office/drawing/2014/main" id="{237464FC-322F-4F59-9369-3EBBE6AC0979}"/>
                  </a:ext>
                </a:extLst>
              </p:cNvPr>
              <p:cNvSpPr/>
              <p:nvPr/>
            </p:nvSpPr>
            <p:spPr>
              <a:xfrm flipH="1">
                <a:off x="-48495" y="0"/>
                <a:ext cx="12240494" cy="6927273"/>
              </a:xfrm>
              <a:prstGeom prst="rect">
                <a:avLst/>
              </a:prstGeom>
              <a:solidFill>
                <a:srgbClr val="F37521">
                  <a:lumMod val="40000"/>
                  <a:lumOff val="60000"/>
                </a:srgbClr>
              </a:solidFill>
              <a:ln w="9000" cap="flat" cmpd="sng" algn="ctr">
                <a:solidFill>
                  <a:srgbClr val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6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765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2" name="Isosceles Triangle 184">
                <a:extLst>
                  <a:ext uri="{FF2B5EF4-FFF2-40B4-BE49-F238E27FC236}">
                    <a16:creationId xmlns:a16="http://schemas.microsoft.com/office/drawing/2014/main" id="{5D90401D-74B5-45B8-B40F-92D50D702935}"/>
                  </a:ext>
                </a:extLst>
              </p:cNvPr>
              <p:cNvSpPr/>
              <p:nvPr/>
            </p:nvSpPr>
            <p:spPr>
              <a:xfrm rot="10800000">
                <a:off x="-48495" y="0"/>
                <a:ext cx="12240494" cy="3422069"/>
              </a:xfrm>
              <a:prstGeom prst="triangle">
                <a:avLst>
                  <a:gd name="adj" fmla="val 49825"/>
                </a:avLst>
              </a:prstGeom>
              <a:solidFill>
                <a:srgbClr val="F37521">
                  <a:lumMod val="60000"/>
                  <a:lumOff val="40000"/>
                </a:srgbClr>
              </a:solidFill>
              <a:ln w="9000" cap="flat" cmpd="sng" algn="ctr">
                <a:solidFill>
                  <a:srgbClr val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6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765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sp>
          <p:nvSpPr>
            <p:cNvPr id="80" name="Oval 182">
              <a:extLst>
                <a:ext uri="{FF2B5EF4-FFF2-40B4-BE49-F238E27FC236}">
                  <a16:creationId xmlns:a16="http://schemas.microsoft.com/office/drawing/2014/main" id="{124AF9B2-DF95-4B77-9A73-34597B088C3F}"/>
                </a:ext>
              </a:extLst>
            </p:cNvPr>
            <p:cNvSpPr/>
            <p:nvPr/>
          </p:nvSpPr>
          <p:spPr>
            <a:xfrm>
              <a:off x="3134871" y="3073702"/>
              <a:ext cx="471055" cy="237440"/>
            </a:xfrm>
            <a:prstGeom prst="ellipse">
              <a:avLst/>
            </a:prstGeom>
            <a:solidFill>
              <a:srgbClr val="0078D4"/>
            </a:solidFill>
            <a:ln w="10795" cap="flat" cmpd="sng" algn="ctr">
              <a:solidFill>
                <a:srgbClr val="0078D4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6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5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uPOI</a:t>
              </a:r>
              <a:endParaRPr kumimoji="0" lang="de-DE" sz="5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aphicFrame>
        <p:nvGraphicFramePr>
          <p:cNvPr id="83" name="Table 185">
            <a:extLst>
              <a:ext uri="{FF2B5EF4-FFF2-40B4-BE49-F238E27FC236}">
                <a16:creationId xmlns:a16="http://schemas.microsoft.com/office/drawing/2014/main" id="{F4F03CA6-908E-4432-948B-28BB92DC7E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4621241"/>
              </p:ext>
            </p:extLst>
          </p:nvPr>
        </p:nvGraphicFramePr>
        <p:xfrm>
          <a:off x="2207943" y="1638741"/>
          <a:ext cx="1533939" cy="1079937"/>
        </p:xfrm>
        <a:graphic>
          <a:graphicData uri="http://schemas.openxmlformats.org/drawingml/2006/table">
            <a:tbl>
              <a:tblPr/>
              <a:tblGrid>
                <a:gridCol w="1533939">
                  <a:extLst>
                    <a:ext uri="{9D8B030D-6E8A-4147-A177-3AD203B41FA5}">
                      <a16:colId xmlns:a16="http://schemas.microsoft.com/office/drawing/2014/main" val="3614209406"/>
                    </a:ext>
                  </a:extLst>
                </a:gridCol>
              </a:tblGrid>
              <a:tr h="359979"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de-DE" sz="1200" dirty="0">
                          <a:solidFill>
                            <a:schemeClr val="bg1"/>
                          </a:solidFill>
                        </a:rPr>
                        <a:t>Content Transform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5868763"/>
                  </a:ext>
                </a:extLst>
              </a:tr>
              <a:tr h="359979"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de-DE" sz="1200" dirty="0">
                          <a:solidFill>
                            <a:schemeClr val="bg1"/>
                          </a:solidFill>
                        </a:rPr>
                        <a:t>Word Break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814173"/>
                  </a:ext>
                </a:extLst>
              </a:tr>
              <a:tr h="359979"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de-DE" sz="1200" dirty="0">
                          <a:solidFill>
                            <a:schemeClr val="bg1"/>
                          </a:solidFill>
                        </a:rPr>
                        <a:t>Create </a:t>
                      </a:r>
                      <a:r>
                        <a:rPr lang="de-DE" sz="1200" dirty="0" err="1">
                          <a:solidFill>
                            <a:schemeClr val="bg1"/>
                          </a:solidFill>
                        </a:rPr>
                        <a:t>uPOI</a:t>
                      </a:r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9799507"/>
                  </a:ext>
                </a:extLst>
              </a:tr>
            </a:tbl>
          </a:graphicData>
        </a:graphic>
      </p:graphicFrame>
      <p:sp>
        <p:nvSpPr>
          <p:cNvPr id="84" name="TextBox 186">
            <a:extLst>
              <a:ext uri="{FF2B5EF4-FFF2-40B4-BE49-F238E27FC236}">
                <a16:creationId xmlns:a16="http://schemas.microsoft.com/office/drawing/2014/main" id="{61CE350B-0A94-40FA-B41F-C21330060B0D}"/>
              </a:ext>
            </a:extLst>
          </p:cNvPr>
          <p:cNvSpPr txBox="1"/>
          <p:nvPr/>
        </p:nvSpPr>
        <p:spPr>
          <a:xfrm>
            <a:off x="7605882" y="893101"/>
            <a:ext cx="12544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7">
              <a:defRPr/>
            </a:pPr>
            <a:r>
              <a:rPr lang="de-DE" sz="2000" b="1" dirty="0">
                <a:latin typeface="Segoe UI"/>
              </a:rPr>
              <a:t>Abfrage</a:t>
            </a:r>
          </a:p>
        </p:txBody>
      </p:sp>
      <p:sp>
        <p:nvSpPr>
          <p:cNvPr id="85" name="Right Arrow 187">
            <a:extLst>
              <a:ext uri="{FF2B5EF4-FFF2-40B4-BE49-F238E27FC236}">
                <a16:creationId xmlns:a16="http://schemas.microsoft.com/office/drawing/2014/main" id="{F1416382-28DA-4559-8ABC-B25685AE9050}"/>
              </a:ext>
            </a:extLst>
          </p:cNvPr>
          <p:cNvSpPr/>
          <p:nvPr/>
        </p:nvSpPr>
        <p:spPr>
          <a:xfrm rot="2829621">
            <a:off x="4659491" y="1462666"/>
            <a:ext cx="623989" cy="159964"/>
          </a:xfrm>
          <a:prstGeom prst="rightArrow">
            <a:avLst/>
          </a:prstGeom>
          <a:solidFill>
            <a:srgbClr val="FFC000"/>
          </a:solidFill>
          <a:ln w="10795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6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6" name="Right Arrow 188">
            <a:extLst>
              <a:ext uri="{FF2B5EF4-FFF2-40B4-BE49-F238E27FC236}">
                <a16:creationId xmlns:a16="http://schemas.microsoft.com/office/drawing/2014/main" id="{D178F1CD-43EE-4744-9ECF-9A31C10D9347}"/>
              </a:ext>
            </a:extLst>
          </p:cNvPr>
          <p:cNvSpPr/>
          <p:nvPr/>
        </p:nvSpPr>
        <p:spPr>
          <a:xfrm rot="8279870">
            <a:off x="7094125" y="1269886"/>
            <a:ext cx="623989" cy="159964"/>
          </a:xfrm>
          <a:prstGeom prst="rightArrow">
            <a:avLst/>
          </a:prstGeom>
          <a:solidFill>
            <a:srgbClr val="7030A0"/>
          </a:solidFill>
          <a:ln w="10795" cap="flat" cmpd="sng" algn="ctr">
            <a:solidFill>
              <a:srgbClr val="7030A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6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7" name="Right Arrow 189">
            <a:extLst>
              <a:ext uri="{FF2B5EF4-FFF2-40B4-BE49-F238E27FC236}">
                <a16:creationId xmlns:a16="http://schemas.microsoft.com/office/drawing/2014/main" id="{0EE4406A-4E24-4817-819B-DCD06967BC67}"/>
              </a:ext>
            </a:extLst>
          </p:cNvPr>
          <p:cNvSpPr/>
          <p:nvPr/>
        </p:nvSpPr>
        <p:spPr>
          <a:xfrm rot="19148430">
            <a:off x="7149566" y="1675374"/>
            <a:ext cx="623989" cy="159964"/>
          </a:xfrm>
          <a:prstGeom prst="rightArrow">
            <a:avLst/>
          </a:prstGeom>
          <a:solidFill>
            <a:srgbClr val="7030A0"/>
          </a:solidFill>
          <a:ln w="10795" cap="flat" cmpd="sng" algn="ctr">
            <a:solidFill>
              <a:srgbClr val="7030A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6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8" name="TextBox 190">
            <a:extLst>
              <a:ext uri="{FF2B5EF4-FFF2-40B4-BE49-F238E27FC236}">
                <a16:creationId xmlns:a16="http://schemas.microsoft.com/office/drawing/2014/main" id="{99F84343-C15C-4877-B557-3C3C879E611D}"/>
              </a:ext>
            </a:extLst>
          </p:cNvPr>
          <p:cNvSpPr txBox="1"/>
          <p:nvPr/>
        </p:nvSpPr>
        <p:spPr>
          <a:xfrm>
            <a:off x="7570371" y="1327150"/>
            <a:ext cx="162723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7">
              <a:defRPr/>
            </a:pPr>
            <a:r>
              <a:rPr lang="de-DE" sz="2000" b="1" dirty="0">
                <a:latin typeface="Segoe UI"/>
              </a:rPr>
              <a:t>Ergebnisse</a:t>
            </a:r>
          </a:p>
        </p:txBody>
      </p:sp>
      <p:sp>
        <p:nvSpPr>
          <p:cNvPr id="89" name="Right Arrow 191">
            <a:extLst>
              <a:ext uri="{FF2B5EF4-FFF2-40B4-BE49-F238E27FC236}">
                <a16:creationId xmlns:a16="http://schemas.microsoft.com/office/drawing/2014/main" id="{51F8C5DD-2B6E-49F2-BEE8-50470122C9B7}"/>
              </a:ext>
            </a:extLst>
          </p:cNvPr>
          <p:cNvSpPr/>
          <p:nvPr/>
        </p:nvSpPr>
        <p:spPr>
          <a:xfrm rot="10800000">
            <a:off x="3810183" y="1973764"/>
            <a:ext cx="1371600" cy="159964"/>
          </a:xfrm>
          <a:prstGeom prst="rightArrow">
            <a:avLst/>
          </a:prstGeom>
          <a:solidFill>
            <a:srgbClr val="FFC000"/>
          </a:solidFill>
          <a:ln w="10795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6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0" name="Right Arrow 192">
            <a:extLst>
              <a:ext uri="{FF2B5EF4-FFF2-40B4-BE49-F238E27FC236}">
                <a16:creationId xmlns:a16="http://schemas.microsoft.com/office/drawing/2014/main" id="{841869D8-A9E9-42C7-A91E-7167793A4A11}"/>
              </a:ext>
            </a:extLst>
          </p:cNvPr>
          <p:cNvSpPr/>
          <p:nvPr/>
        </p:nvSpPr>
        <p:spPr>
          <a:xfrm>
            <a:off x="3844739" y="2260588"/>
            <a:ext cx="1371600" cy="159964"/>
          </a:xfrm>
          <a:prstGeom prst="rightArrow">
            <a:avLst/>
          </a:prstGeom>
          <a:solidFill>
            <a:srgbClr val="FFC000"/>
          </a:solidFill>
          <a:ln w="10795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6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1" name="Right Arrow 193">
            <a:extLst>
              <a:ext uri="{FF2B5EF4-FFF2-40B4-BE49-F238E27FC236}">
                <a16:creationId xmlns:a16="http://schemas.microsoft.com/office/drawing/2014/main" id="{A3CDB667-CD11-45C7-8963-3437A0AF093D}"/>
              </a:ext>
            </a:extLst>
          </p:cNvPr>
          <p:cNvSpPr/>
          <p:nvPr/>
        </p:nvSpPr>
        <p:spPr>
          <a:xfrm rot="5400000">
            <a:off x="4919295" y="3461221"/>
            <a:ext cx="1463040" cy="159964"/>
          </a:xfrm>
          <a:prstGeom prst="rightArrow">
            <a:avLst/>
          </a:prstGeom>
          <a:solidFill>
            <a:srgbClr val="FFC000"/>
          </a:solidFill>
          <a:ln w="10795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6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2" name="Right Arrow 194">
            <a:extLst>
              <a:ext uri="{FF2B5EF4-FFF2-40B4-BE49-F238E27FC236}">
                <a16:creationId xmlns:a16="http://schemas.microsoft.com/office/drawing/2014/main" id="{06FA877B-2CB6-462C-9955-7FD175834F4A}"/>
              </a:ext>
            </a:extLst>
          </p:cNvPr>
          <p:cNvSpPr/>
          <p:nvPr/>
        </p:nvSpPr>
        <p:spPr>
          <a:xfrm rot="5400000">
            <a:off x="5847553" y="3489429"/>
            <a:ext cx="1463040" cy="159964"/>
          </a:xfrm>
          <a:prstGeom prst="rightArrow">
            <a:avLst/>
          </a:prstGeom>
          <a:solidFill>
            <a:srgbClr val="7030A0"/>
          </a:solidFill>
          <a:ln w="10795" cap="flat" cmpd="sng" algn="ctr">
            <a:solidFill>
              <a:srgbClr val="7030A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6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3" name="Right Arrow 195">
            <a:extLst>
              <a:ext uri="{FF2B5EF4-FFF2-40B4-BE49-F238E27FC236}">
                <a16:creationId xmlns:a16="http://schemas.microsoft.com/office/drawing/2014/main" id="{3265F057-6EB8-4A72-8E8A-6E181DA737F8}"/>
              </a:ext>
            </a:extLst>
          </p:cNvPr>
          <p:cNvSpPr/>
          <p:nvPr/>
        </p:nvSpPr>
        <p:spPr>
          <a:xfrm rot="16200000">
            <a:off x="6089941" y="3489429"/>
            <a:ext cx="1463040" cy="159964"/>
          </a:xfrm>
          <a:prstGeom prst="rightArrow">
            <a:avLst/>
          </a:prstGeom>
          <a:solidFill>
            <a:srgbClr val="7030A0"/>
          </a:solidFill>
          <a:ln w="10795" cap="flat" cmpd="sng" algn="ctr">
            <a:solidFill>
              <a:srgbClr val="7030A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6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4" name="Rectangle 121">
            <a:extLst>
              <a:ext uri="{FF2B5EF4-FFF2-40B4-BE49-F238E27FC236}">
                <a16:creationId xmlns:a16="http://schemas.microsoft.com/office/drawing/2014/main" id="{0DEA660C-1826-4768-8E5C-682111DA8C6A}"/>
              </a:ext>
            </a:extLst>
          </p:cNvPr>
          <p:cNvSpPr/>
          <p:nvPr/>
        </p:nvSpPr>
        <p:spPr>
          <a:xfrm>
            <a:off x="1324388" y="3884879"/>
            <a:ext cx="1645549" cy="1091638"/>
          </a:xfrm>
          <a:prstGeom prst="rect">
            <a:avLst/>
          </a:prstGeom>
          <a:solidFill>
            <a:srgbClr val="0078D4"/>
          </a:solidFill>
          <a:ln w="10795" cap="flat" cmpd="sng" algn="ctr">
            <a:solidFill>
              <a:srgbClr val="0078D4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igFunnel Event </a:t>
            </a:r>
            <a:r>
              <a:rPr kumimoji="0" lang="de-DE" sz="12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ased</a:t>
            </a: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2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ssistant</a:t>
            </a: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5" name="Rectangle 122">
            <a:extLst>
              <a:ext uri="{FF2B5EF4-FFF2-40B4-BE49-F238E27FC236}">
                <a16:creationId xmlns:a16="http://schemas.microsoft.com/office/drawing/2014/main" id="{63A18CDE-34AC-41AF-AFAC-F531728C652A}"/>
              </a:ext>
            </a:extLst>
          </p:cNvPr>
          <p:cNvSpPr/>
          <p:nvPr/>
        </p:nvSpPr>
        <p:spPr>
          <a:xfrm>
            <a:off x="1319585" y="5230065"/>
            <a:ext cx="1645549" cy="1091638"/>
          </a:xfrm>
          <a:prstGeom prst="rect">
            <a:avLst/>
          </a:prstGeom>
          <a:solidFill>
            <a:srgbClr val="0078D4"/>
          </a:solidFill>
          <a:ln w="10795" cap="flat" cmpd="sng" algn="ctr">
            <a:solidFill>
              <a:srgbClr val="0078D4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igFunnel Time </a:t>
            </a:r>
            <a:r>
              <a:rPr kumimoji="0" lang="de-DE" sz="12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ased</a:t>
            </a: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2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ssistant</a:t>
            </a: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6" name="Right Arrow 191">
            <a:extLst>
              <a:ext uri="{FF2B5EF4-FFF2-40B4-BE49-F238E27FC236}">
                <a16:creationId xmlns:a16="http://schemas.microsoft.com/office/drawing/2014/main" id="{40476321-C2FE-44C0-BCCD-A2BDB3E4D864}"/>
              </a:ext>
            </a:extLst>
          </p:cNvPr>
          <p:cNvSpPr/>
          <p:nvPr/>
        </p:nvSpPr>
        <p:spPr>
          <a:xfrm rot="10800000">
            <a:off x="3012678" y="4267361"/>
            <a:ext cx="1145906" cy="134736"/>
          </a:xfrm>
          <a:prstGeom prst="rightArrow">
            <a:avLst/>
          </a:prstGeom>
          <a:solidFill>
            <a:srgbClr val="FFC000"/>
          </a:solidFill>
          <a:ln w="10795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6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7" name="Right Arrow 192">
            <a:extLst>
              <a:ext uri="{FF2B5EF4-FFF2-40B4-BE49-F238E27FC236}">
                <a16:creationId xmlns:a16="http://schemas.microsoft.com/office/drawing/2014/main" id="{8E08CAA7-5D90-45E7-A66B-C21D5FDA1F0F}"/>
              </a:ext>
            </a:extLst>
          </p:cNvPr>
          <p:cNvSpPr/>
          <p:nvPr/>
        </p:nvSpPr>
        <p:spPr>
          <a:xfrm>
            <a:off x="3047234" y="4554185"/>
            <a:ext cx="1145906" cy="134736"/>
          </a:xfrm>
          <a:prstGeom prst="rightArrow">
            <a:avLst/>
          </a:prstGeom>
          <a:solidFill>
            <a:srgbClr val="FFC000"/>
          </a:solidFill>
          <a:ln w="10795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6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8" name="Right Arrow 191">
            <a:extLst>
              <a:ext uri="{FF2B5EF4-FFF2-40B4-BE49-F238E27FC236}">
                <a16:creationId xmlns:a16="http://schemas.microsoft.com/office/drawing/2014/main" id="{8E409079-33B3-4CC2-BE26-2CAC31149078}"/>
              </a:ext>
            </a:extLst>
          </p:cNvPr>
          <p:cNvSpPr/>
          <p:nvPr/>
        </p:nvSpPr>
        <p:spPr>
          <a:xfrm rot="8157215">
            <a:off x="2895581" y="5210523"/>
            <a:ext cx="1438352" cy="144745"/>
          </a:xfrm>
          <a:prstGeom prst="rightArrow">
            <a:avLst/>
          </a:prstGeom>
          <a:solidFill>
            <a:srgbClr val="FFC000"/>
          </a:solidFill>
          <a:ln w="10795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6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9" name="Right Arrow 192">
            <a:extLst>
              <a:ext uri="{FF2B5EF4-FFF2-40B4-BE49-F238E27FC236}">
                <a16:creationId xmlns:a16="http://schemas.microsoft.com/office/drawing/2014/main" id="{1F45599B-18C7-4B05-8F3D-F9C1BAD42F46}"/>
              </a:ext>
            </a:extLst>
          </p:cNvPr>
          <p:cNvSpPr/>
          <p:nvPr/>
        </p:nvSpPr>
        <p:spPr>
          <a:xfrm rot="18957215">
            <a:off x="2930140" y="5497349"/>
            <a:ext cx="1438352" cy="144747"/>
          </a:xfrm>
          <a:prstGeom prst="rightArrow">
            <a:avLst/>
          </a:prstGeom>
          <a:solidFill>
            <a:srgbClr val="FFC000"/>
          </a:solidFill>
          <a:ln w="10795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6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60588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3" grpId="0" animBg="1"/>
      <p:bldP spid="84" grpId="0"/>
      <p:bldP spid="85" grpId="0" animBg="1"/>
      <p:bldP spid="86" grpId="0" animBg="1"/>
      <p:bldP spid="87" grpId="0" animBg="1"/>
      <p:bldP spid="88" grpId="0"/>
      <p:bldP spid="89" grpId="0" animBg="1"/>
      <p:bldP spid="90" grpId="0" animBg="1"/>
      <p:bldP spid="91" grpId="0" animBg="1"/>
      <p:bldP spid="92" grpId="0" animBg="1"/>
      <p:bldP spid="93" grpId="0" animBg="1"/>
      <p:bldP spid="96" grpId="0" animBg="1"/>
      <p:bldP spid="97" grpId="0" animBg="1"/>
      <p:bldP spid="98" grpId="0" animBg="1"/>
      <p:bldP spid="99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BigFunnel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DE" sz="2400" b="1" dirty="0"/>
              <a:t>Index Statistik pro Postfach</a:t>
            </a:r>
          </a:p>
          <a:p>
            <a:pPr marL="534831" lvl="1" indent="0">
              <a:buNone/>
            </a:pPr>
            <a:r>
              <a:rPr lang="de-DE" sz="1500" b="1" dirty="0" err="1">
                <a:latin typeface="Consolas" panose="020B0609020204030204" pitchFamily="49" charset="0"/>
              </a:rPr>
              <a:t>Get-MailboxStatistics</a:t>
            </a:r>
            <a:r>
              <a:rPr lang="de-DE" sz="1500" b="1" dirty="0">
                <a:latin typeface="Consolas" panose="020B0609020204030204" pitchFamily="49" charset="0"/>
              </a:rPr>
              <a:t> –Identity &lt;</a:t>
            </a:r>
            <a:r>
              <a:rPr lang="de-DE" sz="1500" b="1" dirty="0" err="1">
                <a:latin typeface="Consolas" panose="020B0609020204030204" pitchFamily="49" charset="0"/>
              </a:rPr>
              <a:t>mailbox</a:t>
            </a:r>
            <a:r>
              <a:rPr lang="de-DE" sz="1500" b="1" dirty="0">
                <a:latin typeface="Consolas" panose="020B0609020204030204" pitchFamily="49" charset="0"/>
              </a:rPr>
              <a:t> </a:t>
            </a:r>
            <a:r>
              <a:rPr lang="de-DE" sz="1500" b="1" dirty="0" err="1">
                <a:latin typeface="Consolas" panose="020B0609020204030204" pitchFamily="49" charset="0"/>
              </a:rPr>
              <a:t>id</a:t>
            </a:r>
            <a:r>
              <a:rPr lang="de-DE" sz="1500" b="1" dirty="0">
                <a:latin typeface="Consolas" panose="020B0609020204030204" pitchFamily="49" charset="0"/>
              </a:rPr>
              <a:t>&gt; | FL *BigFunnel*</a:t>
            </a:r>
            <a:br>
              <a:rPr lang="de-DE" sz="1500" b="1" dirty="0">
                <a:latin typeface="Consolas" panose="020B0609020204030204" pitchFamily="49" charset="0"/>
              </a:rPr>
            </a:br>
            <a:endParaRPr lang="de-DE" dirty="0"/>
          </a:p>
          <a:p>
            <a:r>
              <a:rPr lang="de-DE" sz="2400" b="1" dirty="0"/>
              <a:t>Wiederholung von fehlgeschlagenen Elementen starten</a:t>
            </a:r>
          </a:p>
          <a:p>
            <a:pPr marL="534831" lvl="1" indent="0">
              <a:buNone/>
            </a:pPr>
            <a:r>
              <a:rPr lang="de-DE" sz="1500" b="1" dirty="0">
                <a:latin typeface="Consolas" panose="020B0609020204030204" pitchFamily="49" charset="0"/>
              </a:rPr>
              <a:t>Start-</a:t>
            </a:r>
            <a:r>
              <a:rPr lang="de-DE" sz="1500" b="1" dirty="0" err="1">
                <a:latin typeface="Consolas" panose="020B0609020204030204" pitchFamily="49" charset="0"/>
              </a:rPr>
              <a:t>MailboxAssistant</a:t>
            </a:r>
            <a:r>
              <a:rPr lang="de-DE" sz="1500" b="1" dirty="0">
                <a:latin typeface="Consolas" panose="020B0609020204030204" pitchFamily="49" charset="0"/>
              </a:rPr>
              <a:t> -Identity &lt;</a:t>
            </a:r>
            <a:r>
              <a:rPr lang="de-DE" sz="1500" b="1" dirty="0" err="1">
                <a:latin typeface="Consolas" panose="020B0609020204030204" pitchFamily="49" charset="0"/>
              </a:rPr>
              <a:t>mailbox</a:t>
            </a:r>
            <a:r>
              <a:rPr lang="de-DE" sz="1500" b="1" dirty="0">
                <a:latin typeface="Consolas" panose="020B0609020204030204" pitchFamily="49" charset="0"/>
              </a:rPr>
              <a:t> </a:t>
            </a:r>
            <a:r>
              <a:rPr lang="de-DE" sz="1500" b="1" dirty="0" err="1">
                <a:latin typeface="Consolas" panose="020B0609020204030204" pitchFamily="49" charset="0"/>
              </a:rPr>
              <a:t>id</a:t>
            </a:r>
            <a:r>
              <a:rPr lang="de-DE" sz="1500" b="1" dirty="0">
                <a:latin typeface="Consolas" panose="020B0609020204030204" pitchFamily="49" charset="0"/>
              </a:rPr>
              <a:t>&gt; -</a:t>
            </a:r>
            <a:r>
              <a:rPr lang="de-DE" sz="1500" b="1" dirty="0" err="1">
                <a:latin typeface="Consolas" panose="020B0609020204030204" pitchFamily="49" charset="0"/>
              </a:rPr>
              <a:t>AssistantName</a:t>
            </a:r>
            <a:r>
              <a:rPr lang="de-DE" sz="1500" b="1" dirty="0">
                <a:latin typeface="Consolas" panose="020B0609020204030204" pitchFamily="49" charset="0"/>
              </a:rPr>
              <a:t> </a:t>
            </a:r>
            <a:r>
              <a:rPr lang="de-DE" sz="1500" b="1" dirty="0" err="1">
                <a:latin typeface="Consolas" panose="020B0609020204030204" pitchFamily="49" charset="0"/>
              </a:rPr>
              <a:t>BigFunnelRetryFeederTimeBasedAssistant</a:t>
            </a:r>
            <a:br>
              <a:rPr lang="de-DE" sz="1500" b="1" dirty="0">
                <a:latin typeface="Consolas" panose="020B0609020204030204" pitchFamily="49" charset="0"/>
              </a:rPr>
            </a:br>
            <a:endParaRPr lang="de-DE" sz="1500" b="1" dirty="0">
              <a:latin typeface="Consolas" panose="020B0609020204030204" pitchFamily="49" charset="0"/>
            </a:endParaRPr>
          </a:p>
          <a:p>
            <a:r>
              <a:rPr lang="de-DE" sz="2400" b="1" dirty="0"/>
              <a:t>Vorhandene Suche-Cmdlets funktionieren weiter </a:t>
            </a:r>
          </a:p>
          <a:p>
            <a:pPr marL="534831" lvl="1" indent="0">
              <a:buNone/>
            </a:pPr>
            <a:r>
              <a:rPr lang="de-DE" sz="1500" b="1" dirty="0">
                <a:latin typeface="Consolas" panose="020B0609020204030204" pitchFamily="49" charset="0"/>
              </a:rPr>
              <a:t>Test-</a:t>
            </a:r>
            <a:r>
              <a:rPr lang="de-DE" sz="1500" b="1" dirty="0" err="1">
                <a:latin typeface="Consolas" panose="020B0609020204030204" pitchFamily="49" charset="0"/>
              </a:rPr>
              <a:t>ExchangeSearch</a:t>
            </a:r>
            <a:endParaRPr lang="de-DE" sz="1500" b="1" dirty="0">
              <a:latin typeface="Consolas" panose="020B0609020204030204" pitchFamily="49" charset="0"/>
            </a:endParaRPr>
          </a:p>
          <a:p>
            <a:pPr marL="534831" lvl="1" indent="0">
              <a:buNone/>
            </a:pPr>
            <a:r>
              <a:rPr lang="de-DE" sz="1500" b="1" dirty="0" err="1">
                <a:latin typeface="Consolas" panose="020B0609020204030204" pitchFamily="49" charset="0"/>
              </a:rPr>
              <a:t>Get-FailedContentIndexDocuments</a:t>
            </a:r>
            <a:br>
              <a:rPr lang="de-DE" sz="1500" b="1" dirty="0">
                <a:latin typeface="Consolas" panose="020B0609020204030204" pitchFamily="49" charset="0"/>
              </a:rPr>
            </a:br>
            <a:endParaRPr lang="de-DE" sz="1500" b="1" dirty="0">
              <a:latin typeface="Consolas" panose="020B0609020204030204" pitchFamily="49" charset="0"/>
            </a:endParaRPr>
          </a:p>
          <a:p>
            <a:r>
              <a:rPr lang="de-DE" sz="2400" b="1" dirty="0"/>
              <a:t>Bekannte HA Cmdlets</a:t>
            </a:r>
          </a:p>
          <a:p>
            <a:pPr marL="534831" lvl="1" indent="0">
              <a:buNone/>
            </a:pPr>
            <a:r>
              <a:rPr lang="de-DE" sz="1500" b="1" dirty="0" err="1">
                <a:latin typeface="Consolas" panose="020B0609020204030204" pitchFamily="49" charset="0"/>
              </a:rPr>
              <a:t>Get-MailboxDatabaseCopyStatus</a:t>
            </a:r>
            <a:endParaRPr lang="de-DE" sz="1500" b="1" dirty="0">
              <a:latin typeface="Consolas" panose="020B0609020204030204" pitchFamily="49" charset="0"/>
            </a:endParaRPr>
          </a:p>
          <a:p>
            <a:pPr marL="534831" lvl="1" indent="0">
              <a:buNone/>
            </a:pPr>
            <a:r>
              <a:rPr lang="de-DE" sz="1500" b="1" dirty="0">
                <a:latin typeface="Consolas" panose="020B0609020204030204" pitchFamily="49" charset="0"/>
              </a:rPr>
              <a:t>Update-</a:t>
            </a:r>
            <a:r>
              <a:rPr lang="de-DE" sz="1500" b="1" dirty="0" err="1">
                <a:latin typeface="Consolas" panose="020B0609020204030204" pitchFamily="49" charset="0"/>
              </a:rPr>
              <a:t>MailboxDatabaseCopy</a:t>
            </a:r>
            <a:endParaRPr lang="de-DE" sz="1500" b="1" dirty="0">
              <a:latin typeface="Consolas" panose="020B0609020204030204" pitchFamily="49" charset="0"/>
            </a:endParaRPr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Für den Administrator</a:t>
            </a:r>
          </a:p>
        </p:txBody>
      </p:sp>
    </p:spTree>
    <p:extLst>
      <p:ext uri="{BB962C8B-B14F-4D97-AF65-F5344CB8AC3E}">
        <p14:creationId xmlns:p14="http://schemas.microsoft.com/office/powerpoint/2010/main" val="27398824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8DFF3C50-4326-4090-9563-39166FAE16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/>
              <a:t>Exchange Server 2019 MetaCache Database und BigFunnel</a:t>
            </a:r>
            <a:endParaRPr lang="de-DE" sz="320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D5FCE5E-BE6E-4AAA-BFE2-CADDE02D47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Teil 2 – MetaCache Databas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3133220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err="1"/>
              <a:t>MetaCache</a:t>
            </a:r>
            <a:r>
              <a:rPr lang="de-DE" dirty="0"/>
              <a:t> Databa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Warum gibt es die MCDB?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9E09BED0-6C09-4394-BCC9-2A9B99A26E88}"/>
              </a:ext>
            </a:extLst>
          </p:cNvPr>
          <p:cNvGrpSpPr/>
          <p:nvPr/>
        </p:nvGrpSpPr>
        <p:grpSpPr>
          <a:xfrm>
            <a:off x="1099426" y="3068320"/>
            <a:ext cx="1886507" cy="2424112"/>
            <a:chOff x="1099426" y="3068320"/>
            <a:chExt cx="1886507" cy="2424112"/>
          </a:xfrm>
        </p:grpSpPr>
        <p:pic>
          <p:nvPicPr>
            <p:cNvPr id="8" name="Graphic 10" descr="Database">
              <a:extLst>
                <a:ext uri="{FF2B5EF4-FFF2-40B4-BE49-F238E27FC236}">
                  <a16:creationId xmlns:a16="http://schemas.microsoft.com/office/drawing/2014/main" id="{A874C571-2DDE-4D75-9253-ED16D25FD01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356880" y="3068320"/>
              <a:ext cx="1371600" cy="1371600"/>
            </a:xfrm>
            <a:prstGeom prst="rect">
              <a:avLst/>
            </a:prstGeom>
          </p:spPr>
        </p:pic>
        <p:sp>
          <p:nvSpPr>
            <p:cNvPr id="9" name="TextBox 12">
              <a:extLst>
                <a:ext uri="{FF2B5EF4-FFF2-40B4-BE49-F238E27FC236}">
                  <a16:creationId xmlns:a16="http://schemas.microsoft.com/office/drawing/2014/main" id="{6A657B06-4764-4D8E-9D5B-0CBAB225C9D5}"/>
                </a:ext>
              </a:extLst>
            </p:cNvPr>
            <p:cNvSpPr txBox="1"/>
            <p:nvPr/>
          </p:nvSpPr>
          <p:spPr>
            <a:xfrm>
              <a:off x="1099426" y="4569102"/>
              <a:ext cx="1886507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67">
                <a:defRPr/>
              </a:pPr>
              <a:r>
                <a:rPr lang="de-DE" sz="1800" dirty="0">
                  <a:latin typeface="Segoe UI"/>
                </a:rPr>
                <a:t>SSD-basiertes Backend für BigFunnel</a:t>
              </a:r>
            </a:p>
          </p:txBody>
        </p: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2C2F2596-8273-4867-A4E0-43DDF196B5CE}"/>
              </a:ext>
            </a:extLst>
          </p:cNvPr>
          <p:cNvGrpSpPr/>
          <p:nvPr/>
        </p:nvGrpSpPr>
        <p:grpSpPr>
          <a:xfrm>
            <a:off x="3849088" y="3068320"/>
            <a:ext cx="1838174" cy="2424112"/>
            <a:chOff x="3849088" y="3068320"/>
            <a:chExt cx="1838174" cy="2424112"/>
          </a:xfrm>
        </p:grpSpPr>
        <p:pic>
          <p:nvPicPr>
            <p:cNvPr id="6" name="Graphic 7" descr="Upward trend">
              <a:extLst>
                <a:ext uri="{FF2B5EF4-FFF2-40B4-BE49-F238E27FC236}">
                  <a16:creationId xmlns:a16="http://schemas.microsoft.com/office/drawing/2014/main" id="{F50379D1-416B-409C-864F-DA51FC038F2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082375" y="3068320"/>
              <a:ext cx="1371600" cy="1371600"/>
            </a:xfrm>
            <a:prstGeom prst="rect">
              <a:avLst/>
            </a:prstGeom>
          </p:spPr>
        </p:pic>
        <p:sp>
          <p:nvSpPr>
            <p:cNvPr id="10" name="TextBox 16">
              <a:extLst>
                <a:ext uri="{FF2B5EF4-FFF2-40B4-BE49-F238E27FC236}">
                  <a16:creationId xmlns:a16="http://schemas.microsoft.com/office/drawing/2014/main" id="{D50396F0-ED50-46AA-AC8A-7E5053215AD3}"/>
                </a:ext>
              </a:extLst>
            </p:cNvPr>
            <p:cNvSpPr txBox="1"/>
            <p:nvPr/>
          </p:nvSpPr>
          <p:spPr>
            <a:xfrm>
              <a:off x="3849088" y="4569102"/>
              <a:ext cx="1838174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67">
                <a:defRPr/>
              </a:pPr>
              <a:r>
                <a:rPr lang="de-DE" sz="1800" dirty="0">
                  <a:latin typeface="Segoe UI"/>
                </a:rPr>
                <a:t>Umstellung auf All-Flash zu kostenintensiv</a:t>
              </a:r>
            </a:p>
          </p:txBody>
        </p: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D770057F-D943-4326-97C7-A3B9A642ABF3}"/>
              </a:ext>
            </a:extLst>
          </p:cNvPr>
          <p:cNvGrpSpPr/>
          <p:nvPr/>
        </p:nvGrpSpPr>
        <p:grpSpPr>
          <a:xfrm>
            <a:off x="6232462" y="3068320"/>
            <a:ext cx="2522416" cy="2424112"/>
            <a:chOff x="6232462" y="3068320"/>
            <a:chExt cx="2522416" cy="2424112"/>
          </a:xfrm>
        </p:grpSpPr>
        <p:pic>
          <p:nvPicPr>
            <p:cNvPr id="7" name="Graphic 11" descr="Playbook">
              <a:extLst>
                <a:ext uri="{FF2B5EF4-FFF2-40B4-BE49-F238E27FC236}">
                  <a16:creationId xmlns:a16="http://schemas.microsoft.com/office/drawing/2014/main" id="{F0380606-82E6-4380-B51E-F60F8CDAEDE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807870" y="3068320"/>
              <a:ext cx="1371600" cy="1371600"/>
            </a:xfrm>
            <a:prstGeom prst="rect">
              <a:avLst/>
            </a:prstGeom>
          </p:spPr>
        </p:pic>
        <p:sp>
          <p:nvSpPr>
            <p:cNvPr id="11" name="TextBox 17">
              <a:extLst>
                <a:ext uri="{FF2B5EF4-FFF2-40B4-BE49-F238E27FC236}">
                  <a16:creationId xmlns:a16="http://schemas.microsoft.com/office/drawing/2014/main" id="{89E04351-525A-4C24-819F-B76A864665E0}"/>
                </a:ext>
              </a:extLst>
            </p:cNvPr>
            <p:cNvSpPr txBox="1"/>
            <p:nvPr/>
          </p:nvSpPr>
          <p:spPr>
            <a:xfrm>
              <a:off x="6232462" y="4569102"/>
              <a:ext cx="2522416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67">
                <a:defRPr/>
              </a:pPr>
              <a:r>
                <a:rPr lang="de-DE" sz="1800" dirty="0">
                  <a:latin typeface="Segoe UI"/>
                </a:rPr>
                <a:t>Ergebnis: Hybrid Systeme mit </a:t>
              </a:r>
              <a:br>
                <a:rPr lang="de-DE" sz="1800" dirty="0">
                  <a:latin typeface="Segoe UI"/>
                </a:rPr>
              </a:br>
              <a:r>
                <a:rPr lang="de-DE" sz="1800" dirty="0">
                  <a:latin typeface="Segoe UI"/>
                </a:rPr>
                <a:t>4% - 6% SSD-Speicher</a:t>
              </a:r>
            </a:p>
          </p:txBody>
        </p: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6EC01EBF-BBFE-49A8-8FC6-099D361AEF37}"/>
              </a:ext>
            </a:extLst>
          </p:cNvPr>
          <p:cNvGrpSpPr/>
          <p:nvPr/>
        </p:nvGrpSpPr>
        <p:grpSpPr>
          <a:xfrm>
            <a:off x="8999424" y="3068320"/>
            <a:ext cx="2439484" cy="2701111"/>
            <a:chOff x="8999424" y="3068320"/>
            <a:chExt cx="2439484" cy="2701111"/>
          </a:xfrm>
        </p:grpSpPr>
        <p:pic>
          <p:nvPicPr>
            <p:cNvPr id="5" name="Graphic 5" descr="Gauge">
              <a:extLst>
                <a:ext uri="{FF2B5EF4-FFF2-40B4-BE49-F238E27FC236}">
                  <a16:creationId xmlns:a16="http://schemas.microsoft.com/office/drawing/2014/main" id="{007F7F51-56B5-4BFA-AFB0-7084762A018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533366" y="3068320"/>
              <a:ext cx="1371600" cy="1371600"/>
            </a:xfrm>
            <a:prstGeom prst="rect">
              <a:avLst/>
            </a:prstGeom>
          </p:spPr>
        </p:pic>
        <p:sp>
          <p:nvSpPr>
            <p:cNvPr id="12" name="TextBox 18">
              <a:extLst>
                <a:ext uri="{FF2B5EF4-FFF2-40B4-BE49-F238E27FC236}">
                  <a16:creationId xmlns:a16="http://schemas.microsoft.com/office/drawing/2014/main" id="{857619C1-8E4F-47DF-8BF7-080438FF52D1}"/>
                </a:ext>
              </a:extLst>
            </p:cNvPr>
            <p:cNvSpPr txBox="1"/>
            <p:nvPr/>
          </p:nvSpPr>
          <p:spPr>
            <a:xfrm>
              <a:off x="8999424" y="4569102"/>
              <a:ext cx="2439484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67">
                <a:defRPr/>
              </a:pPr>
              <a:r>
                <a:rPr lang="de-DE" sz="1800" dirty="0">
                  <a:latin typeface="Segoe UI"/>
                </a:rPr>
                <a:t>Weitere Effekte: Reduzierte HDD I/O, Schnellere Anmeldungen, …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725137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MetaCache Databa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Vorteile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A2850779-A0DF-4268-864A-7FC8EFE93588}"/>
              </a:ext>
            </a:extLst>
          </p:cNvPr>
          <p:cNvGrpSpPr/>
          <p:nvPr/>
        </p:nvGrpSpPr>
        <p:grpSpPr>
          <a:xfrm>
            <a:off x="708336" y="1954259"/>
            <a:ext cx="9089598" cy="1861756"/>
            <a:chOff x="708336" y="1954259"/>
            <a:chExt cx="9089598" cy="1861756"/>
          </a:xfrm>
        </p:grpSpPr>
        <p:grpSp>
          <p:nvGrpSpPr>
            <p:cNvPr id="16" name="Group 11">
              <a:extLst>
                <a:ext uri="{FF2B5EF4-FFF2-40B4-BE49-F238E27FC236}">
                  <a16:creationId xmlns:a16="http://schemas.microsoft.com/office/drawing/2014/main" id="{0F3A16C1-E1A3-4BBA-A931-A367AFF40D75}"/>
                </a:ext>
              </a:extLst>
            </p:cNvPr>
            <p:cNvGrpSpPr/>
            <p:nvPr/>
          </p:nvGrpSpPr>
          <p:grpSpPr>
            <a:xfrm>
              <a:off x="708336" y="1954259"/>
              <a:ext cx="2286000" cy="1861756"/>
              <a:chOff x="8765310" y="757644"/>
              <a:chExt cx="2286000" cy="1861756"/>
            </a:xfrm>
          </p:grpSpPr>
          <p:sp>
            <p:nvSpPr>
              <p:cNvPr id="17" name="Rectangle: Rounded Corners 25">
                <a:extLst>
                  <a:ext uri="{FF2B5EF4-FFF2-40B4-BE49-F238E27FC236}">
                    <a16:creationId xmlns:a16="http://schemas.microsoft.com/office/drawing/2014/main" id="{C63B20CF-D54B-47F0-B932-887BF7A5BEBE}"/>
                  </a:ext>
                </a:extLst>
              </p:cNvPr>
              <p:cNvSpPr/>
              <p:nvPr/>
            </p:nvSpPr>
            <p:spPr bwMode="auto">
              <a:xfrm>
                <a:off x="8765310" y="790600"/>
                <a:ext cx="2286000" cy="1828800"/>
              </a:xfrm>
              <a:prstGeom prst="roundRect">
                <a:avLst>
                  <a:gd name="adj" fmla="val 8284"/>
                </a:avLst>
              </a:prstGeom>
              <a:solidFill>
                <a:srgbClr val="0078D4"/>
              </a:solidFill>
              <a:ln w="10795" cap="flat" cmpd="sng" algn="ctr">
                <a:solidFill>
                  <a:srgbClr val="0078D4">
                    <a:shade val="50000"/>
                  </a:srgbClr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46637" rIns="0" bIns="46637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32472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8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40075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endParaRPr>
              </a:p>
            </p:txBody>
          </p:sp>
          <p:pic>
            <p:nvPicPr>
              <p:cNvPr id="18" name="Graphic 23" descr="Gauge">
                <a:extLst>
                  <a:ext uri="{FF2B5EF4-FFF2-40B4-BE49-F238E27FC236}">
                    <a16:creationId xmlns:a16="http://schemas.microsoft.com/office/drawing/2014/main" id="{0411086E-2BE3-4E23-A731-D23D1429B8E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8993910" y="757644"/>
                <a:ext cx="1828800" cy="1828800"/>
              </a:xfrm>
              <a:prstGeom prst="rect">
                <a:avLst/>
              </a:prstGeom>
            </p:spPr>
          </p:pic>
        </p:grpSp>
        <p:sp>
          <p:nvSpPr>
            <p:cNvPr id="19" name="TextBox 29">
              <a:extLst>
                <a:ext uri="{FF2B5EF4-FFF2-40B4-BE49-F238E27FC236}">
                  <a16:creationId xmlns:a16="http://schemas.microsoft.com/office/drawing/2014/main" id="{BDF63F04-AADF-4F68-BB8B-92D2FFD0D2BF}"/>
                </a:ext>
              </a:extLst>
            </p:cNvPr>
            <p:cNvSpPr txBox="1"/>
            <p:nvPr/>
          </p:nvSpPr>
          <p:spPr>
            <a:xfrm>
              <a:off x="3378662" y="2162951"/>
              <a:ext cx="6419272" cy="129266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14400">
                <a:defRPr/>
              </a:pPr>
              <a:r>
                <a:rPr lang="de-DE" sz="2800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50% Schnellere Suche (BigFunnel)</a:t>
              </a:r>
            </a:p>
            <a:p>
              <a:pPr defTabSz="914400">
                <a:defRPr/>
              </a:pPr>
              <a:endParaRPr lang="de-DE" sz="2800" dirty="0"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  <a:p>
              <a:pPr defTabSz="914400">
                <a:defRPr/>
              </a:pPr>
              <a:r>
                <a:rPr lang="de-DE" sz="2800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50% Schnellere Postfachanmeldung</a:t>
              </a:r>
            </a:p>
          </p:txBody>
        </p:sp>
      </p:grp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0C5E8E26-497C-4C51-9175-5915C42B8928}"/>
              </a:ext>
            </a:extLst>
          </p:cNvPr>
          <p:cNvGrpSpPr/>
          <p:nvPr/>
        </p:nvGrpSpPr>
        <p:grpSpPr>
          <a:xfrm>
            <a:off x="708336" y="4344227"/>
            <a:ext cx="8892726" cy="1828800"/>
            <a:chOff x="708336" y="4344227"/>
            <a:chExt cx="8892726" cy="1828800"/>
          </a:xfrm>
        </p:grpSpPr>
        <p:grpSp>
          <p:nvGrpSpPr>
            <p:cNvPr id="13" name="Group 27">
              <a:extLst>
                <a:ext uri="{FF2B5EF4-FFF2-40B4-BE49-F238E27FC236}">
                  <a16:creationId xmlns:a16="http://schemas.microsoft.com/office/drawing/2014/main" id="{228B5D5D-FDAA-488C-BAEA-52F6D1D1A349}"/>
                </a:ext>
              </a:extLst>
            </p:cNvPr>
            <p:cNvGrpSpPr/>
            <p:nvPr/>
          </p:nvGrpSpPr>
          <p:grpSpPr>
            <a:xfrm>
              <a:off x="708336" y="4344227"/>
              <a:ext cx="2286000" cy="1828800"/>
              <a:chOff x="588263" y="4123694"/>
              <a:chExt cx="2286000" cy="1828800"/>
            </a:xfrm>
          </p:grpSpPr>
          <p:sp>
            <p:nvSpPr>
              <p:cNvPr id="14" name="Rectangle: Rounded Corners 26">
                <a:extLst>
                  <a:ext uri="{FF2B5EF4-FFF2-40B4-BE49-F238E27FC236}">
                    <a16:creationId xmlns:a16="http://schemas.microsoft.com/office/drawing/2014/main" id="{BA23A442-04EB-40D3-83AF-C6FD11AC0586}"/>
                  </a:ext>
                </a:extLst>
              </p:cNvPr>
              <p:cNvSpPr/>
              <p:nvPr/>
            </p:nvSpPr>
            <p:spPr bwMode="auto">
              <a:xfrm>
                <a:off x="588263" y="4123694"/>
                <a:ext cx="2286000" cy="1828800"/>
              </a:xfrm>
              <a:prstGeom prst="roundRect">
                <a:avLst>
                  <a:gd name="adj" fmla="val 8284"/>
                </a:avLst>
              </a:prstGeom>
              <a:solidFill>
                <a:srgbClr val="D83B01"/>
              </a:solidFill>
              <a:ln w="10795" cap="flat" cmpd="sng" algn="ctr">
                <a:solidFill>
                  <a:srgbClr val="D83B01">
                    <a:shade val="50000"/>
                  </a:srgbClr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46637" rIns="0" bIns="46637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32472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8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40075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endParaRPr>
              </a:p>
            </p:txBody>
          </p:sp>
          <p:pic>
            <p:nvPicPr>
              <p:cNvPr id="15" name="Graphic 7" descr="Signal">
                <a:extLst>
                  <a:ext uri="{FF2B5EF4-FFF2-40B4-BE49-F238E27FC236}">
                    <a16:creationId xmlns:a16="http://schemas.microsoft.com/office/drawing/2014/main" id="{47921E1B-2A18-40B9-B81E-C633B418E4C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816863" y="4123694"/>
                <a:ext cx="1828800" cy="1828800"/>
              </a:xfrm>
              <a:prstGeom prst="rect">
                <a:avLst/>
              </a:prstGeom>
            </p:spPr>
          </p:pic>
        </p:grpSp>
        <p:sp>
          <p:nvSpPr>
            <p:cNvPr id="20" name="TextBox 30">
              <a:extLst>
                <a:ext uri="{FF2B5EF4-FFF2-40B4-BE49-F238E27FC236}">
                  <a16:creationId xmlns:a16="http://schemas.microsoft.com/office/drawing/2014/main" id="{D4F9EED7-40BF-41C8-AA9B-66FA82499416}"/>
                </a:ext>
              </a:extLst>
            </p:cNvPr>
            <p:cNvSpPr txBox="1"/>
            <p:nvPr/>
          </p:nvSpPr>
          <p:spPr>
            <a:xfrm>
              <a:off x="3378662" y="4519963"/>
              <a:ext cx="6222400" cy="129266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14400">
                <a:defRPr/>
              </a:pPr>
              <a:r>
                <a:rPr lang="de-DE" sz="2800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2x – 3x schnellerer Postfachzugriff</a:t>
              </a:r>
            </a:p>
            <a:p>
              <a:pPr defTabSz="914400">
                <a:defRPr/>
              </a:pPr>
              <a:endParaRPr lang="de-DE" sz="2800" dirty="0"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  <a:p>
              <a:pPr defTabSz="914400">
                <a:defRPr/>
              </a:pPr>
              <a:r>
                <a:rPr lang="de-DE" sz="2800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20% mehr aktive Nutzer je Serv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953757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err="1"/>
              <a:t>MetaCache</a:t>
            </a:r>
            <a:r>
              <a:rPr lang="de-DE" dirty="0"/>
              <a:t> Databa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Auswirkungen auf Exchange Online</a:t>
            </a:r>
          </a:p>
        </p:txBody>
      </p:sp>
      <p:graphicFrame>
        <p:nvGraphicFramePr>
          <p:cNvPr id="12" name="Chart 3">
            <a:extLst>
              <a:ext uri="{FF2B5EF4-FFF2-40B4-BE49-F238E27FC236}">
                <a16:creationId xmlns:a16="http://schemas.microsoft.com/office/drawing/2014/main" id="{086BBDCF-BD4E-4AEA-8FB0-8643C179818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9431864"/>
              </p:ext>
            </p:extLst>
          </p:nvPr>
        </p:nvGraphicFramePr>
        <p:xfrm>
          <a:off x="589683" y="1376958"/>
          <a:ext cx="5241317" cy="49528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DA82A077-CCE9-4631-B8D8-C3C1AEEC214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45580098"/>
              </p:ext>
            </p:extLst>
          </p:nvPr>
        </p:nvGraphicFramePr>
        <p:xfrm>
          <a:off x="5832628" y="1376958"/>
          <a:ext cx="5999593" cy="49528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2" name="TextBox 9">
            <a:extLst>
              <a:ext uri="{FF2B5EF4-FFF2-40B4-BE49-F238E27FC236}">
                <a16:creationId xmlns:a16="http://schemas.microsoft.com/office/drawing/2014/main" id="{EE9D4963-A7D7-436C-B50B-D2DFC97C0A65}"/>
              </a:ext>
            </a:extLst>
          </p:cNvPr>
          <p:cNvSpPr txBox="1"/>
          <p:nvPr/>
        </p:nvSpPr>
        <p:spPr>
          <a:xfrm>
            <a:off x="6987301" y="4209209"/>
            <a:ext cx="1845123" cy="3639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7">
              <a:defRPr/>
            </a:pPr>
            <a:r>
              <a:rPr lang="de-DE" sz="1765" b="1" dirty="0">
                <a:solidFill>
                  <a:srgbClr val="0078D4"/>
                </a:solidFill>
                <a:latin typeface="Segoe UI"/>
              </a:rPr>
              <a:t>MCDB aktiviert</a:t>
            </a:r>
          </a:p>
        </p:txBody>
      </p:sp>
      <p:cxnSp>
        <p:nvCxnSpPr>
          <p:cNvPr id="23" name="Straight Arrow Connector 7">
            <a:extLst>
              <a:ext uri="{FF2B5EF4-FFF2-40B4-BE49-F238E27FC236}">
                <a16:creationId xmlns:a16="http://schemas.microsoft.com/office/drawing/2014/main" id="{0D9EBD38-6038-4275-9A59-850791752A41}"/>
              </a:ext>
            </a:extLst>
          </p:cNvPr>
          <p:cNvCxnSpPr>
            <a:cxnSpLocks/>
          </p:cNvCxnSpPr>
          <p:nvPr/>
        </p:nvCxnSpPr>
        <p:spPr>
          <a:xfrm>
            <a:off x="9655629" y="2348439"/>
            <a:ext cx="0" cy="2641600"/>
          </a:xfrm>
          <a:prstGeom prst="straightConnector1">
            <a:avLst/>
          </a:prstGeom>
          <a:noFill/>
          <a:ln w="12700" cap="flat" cmpd="sng" algn="ctr">
            <a:solidFill>
              <a:srgbClr val="0078D4"/>
            </a:solidFill>
            <a:prstDash val="solid"/>
            <a:headEnd type="triangle"/>
            <a:tailEnd type="triangle"/>
          </a:ln>
          <a:effectLst/>
        </p:spPr>
      </p:cxnSp>
      <p:sp>
        <p:nvSpPr>
          <p:cNvPr id="24" name="TextBox 8">
            <a:extLst>
              <a:ext uri="{FF2B5EF4-FFF2-40B4-BE49-F238E27FC236}">
                <a16:creationId xmlns:a16="http://schemas.microsoft.com/office/drawing/2014/main" id="{4428AD4D-3546-48C9-9328-75F6DF9BC959}"/>
              </a:ext>
            </a:extLst>
          </p:cNvPr>
          <p:cNvSpPr txBox="1"/>
          <p:nvPr/>
        </p:nvSpPr>
        <p:spPr>
          <a:xfrm>
            <a:off x="8910088" y="3521840"/>
            <a:ext cx="745541" cy="3639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67">
              <a:defRPr/>
            </a:pPr>
            <a:r>
              <a:rPr lang="de-DE" sz="1765" b="1" dirty="0">
                <a:solidFill>
                  <a:schemeClr val="bg2">
                    <a:lumMod val="20000"/>
                    <a:lumOff val="80000"/>
                  </a:schemeClr>
                </a:solidFill>
                <a:latin typeface="Segoe UI"/>
              </a:rPr>
              <a:t>2.7x</a:t>
            </a:r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D1821834-481A-4DBE-B40F-F13EF06B67E2}"/>
              </a:ext>
            </a:extLst>
          </p:cNvPr>
          <p:cNvSpPr txBox="1"/>
          <p:nvPr/>
        </p:nvSpPr>
        <p:spPr>
          <a:xfrm>
            <a:off x="9487787" y="1850161"/>
            <a:ext cx="2150407" cy="3639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67">
              <a:defRPr/>
            </a:pPr>
            <a:r>
              <a:rPr lang="de-DE" sz="1765" b="1" dirty="0">
                <a:solidFill>
                  <a:schemeClr val="bg1">
                    <a:lumMod val="50000"/>
                    <a:lumOff val="50000"/>
                  </a:schemeClr>
                </a:solidFill>
                <a:latin typeface="Segoe UI"/>
              </a:rPr>
              <a:t>MCDB deaktiviert</a:t>
            </a:r>
          </a:p>
        </p:txBody>
      </p:sp>
    </p:spTree>
    <p:extLst>
      <p:ext uri="{BB962C8B-B14F-4D97-AF65-F5344CB8AC3E}">
        <p14:creationId xmlns:p14="http://schemas.microsoft.com/office/powerpoint/2010/main" val="37463207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2" grpId="0">
        <p:bldAsOne/>
      </p:bldGraphic>
      <p:bldGraphic spid="21" grpId="0">
        <p:bldAsOne/>
      </p:bldGraphic>
      <p:bldP spid="22" grpId="0"/>
      <p:bldP spid="24" grpId="0"/>
      <p:bldP spid="9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err="1"/>
              <a:t>MetaCache</a:t>
            </a:r>
            <a:r>
              <a:rPr lang="de-DE" dirty="0"/>
              <a:t> Databas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520890"/>
            <a:ext cx="7080682" cy="4656073"/>
          </a:xfrm>
        </p:spPr>
        <p:txBody>
          <a:bodyPr>
            <a:normAutofit fontScale="85000" lnSpcReduction="10000"/>
          </a:bodyPr>
          <a:lstStyle/>
          <a:p>
            <a:r>
              <a:rPr lang="de-DE" b="1" dirty="0"/>
              <a:t>Teilkopie der primären Datenbank (HDD) </a:t>
            </a:r>
            <a:br>
              <a:rPr lang="de-DE" dirty="0"/>
            </a:br>
            <a:r>
              <a:rPr lang="de-DE" dirty="0"/>
              <a:t>– “Vertical Slice”</a:t>
            </a:r>
          </a:p>
          <a:p>
            <a:pPr lvl="1"/>
            <a:r>
              <a:rPr lang="de-DE" dirty="0"/>
              <a:t>Nutzen: Beschleunigung für latenzkritischen Code</a:t>
            </a:r>
          </a:p>
          <a:p>
            <a:pPr lvl="1"/>
            <a:r>
              <a:rPr lang="de-DE" dirty="0"/>
              <a:t>Nutzen: Verlagerung allgemeiner Operationen von HDD</a:t>
            </a:r>
          </a:p>
          <a:p>
            <a:endParaRPr lang="de-DE" dirty="0"/>
          </a:p>
          <a:p>
            <a:r>
              <a:rPr lang="de-DE" b="1" dirty="0"/>
              <a:t>Für die Suche</a:t>
            </a:r>
          </a:p>
          <a:p>
            <a:pPr lvl="1"/>
            <a:r>
              <a:rPr lang="de-DE" dirty="0"/>
              <a:t>Nachrichten-Metadaten (Titel, </a:t>
            </a:r>
            <a:r>
              <a:rPr lang="de-DE" dirty="0" err="1"/>
              <a:t>Kopfinfo</a:t>
            </a:r>
            <a:r>
              <a:rPr lang="de-DE" dirty="0"/>
              <a:t>, Datum, usw.)</a:t>
            </a:r>
          </a:p>
          <a:p>
            <a:pPr lvl="1"/>
            <a:r>
              <a:rPr lang="de-DE" dirty="0"/>
              <a:t>Metadaten von Posting-Listen</a:t>
            </a:r>
          </a:p>
          <a:p>
            <a:pPr lvl="1"/>
            <a:r>
              <a:rPr lang="de-DE" dirty="0"/>
              <a:t>Objekt-Indices</a:t>
            </a:r>
          </a:p>
          <a:p>
            <a:endParaRPr lang="de-DE" dirty="0"/>
          </a:p>
          <a:p>
            <a:r>
              <a:rPr lang="de-DE" b="1" dirty="0"/>
              <a:t>Für Anmeldungen </a:t>
            </a:r>
          </a:p>
          <a:p>
            <a:pPr lvl="1"/>
            <a:r>
              <a:rPr lang="de-DE" dirty="0"/>
              <a:t>Postfach-Tabelle</a:t>
            </a:r>
          </a:p>
          <a:p>
            <a:pPr lvl="1"/>
            <a:r>
              <a:rPr lang="de-DE" dirty="0"/>
              <a:t>Tabelle benannter Eigenschaften</a:t>
            </a:r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Übersicht </a:t>
            </a:r>
          </a:p>
        </p:txBody>
      </p:sp>
      <p:graphicFrame>
        <p:nvGraphicFramePr>
          <p:cNvPr id="5" name="Table 34">
            <a:extLst>
              <a:ext uri="{FF2B5EF4-FFF2-40B4-BE49-F238E27FC236}">
                <a16:creationId xmlns:a16="http://schemas.microsoft.com/office/drawing/2014/main" id="{8D3CCCD3-0610-433F-B417-4C78AC15672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0276172"/>
              </p:ext>
            </p:extLst>
          </p:nvPr>
        </p:nvGraphicFramePr>
        <p:xfrm>
          <a:off x="8581423" y="1706966"/>
          <a:ext cx="2606589" cy="1493520"/>
        </p:xfrm>
        <a:graphic>
          <a:graphicData uri="http://schemas.openxmlformats.org/drawingml/2006/table">
            <a:tbl>
              <a:tblPr firstRow="1" bandRow="1"/>
              <a:tblGrid>
                <a:gridCol w="1123777">
                  <a:extLst>
                    <a:ext uri="{9D8B030D-6E8A-4147-A177-3AD203B41FA5}">
                      <a16:colId xmlns:a16="http://schemas.microsoft.com/office/drawing/2014/main" val="169129713"/>
                    </a:ext>
                  </a:extLst>
                </a:gridCol>
                <a:gridCol w="757881">
                  <a:extLst>
                    <a:ext uri="{9D8B030D-6E8A-4147-A177-3AD203B41FA5}">
                      <a16:colId xmlns:a16="http://schemas.microsoft.com/office/drawing/2014/main" val="3236314579"/>
                    </a:ext>
                  </a:extLst>
                </a:gridCol>
                <a:gridCol w="724931">
                  <a:extLst>
                    <a:ext uri="{9D8B030D-6E8A-4147-A177-3AD203B41FA5}">
                      <a16:colId xmlns:a16="http://schemas.microsoft.com/office/drawing/2014/main" val="514051070"/>
                    </a:ext>
                  </a:extLst>
                </a:gridCol>
              </a:tblGrid>
              <a:tr h="370840"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tx1"/>
                          </a:solidFill>
                        </a:rPr>
                        <a:t>Column</a:t>
                      </a:r>
                      <a:r>
                        <a:rPr lang="de-DE" sz="1000" dirty="0">
                          <a:solidFill>
                            <a:schemeClr val="tx1"/>
                          </a:solidFill>
                        </a:rPr>
                        <a:t> 1 </a:t>
                      </a:r>
                      <a:br>
                        <a:rPr lang="de-DE" sz="1000" dirty="0">
                          <a:solidFill>
                            <a:schemeClr val="tx1"/>
                          </a:solidFill>
                        </a:rPr>
                      </a:br>
                      <a:r>
                        <a:rPr lang="de-DE" sz="1000" dirty="0">
                          <a:solidFill>
                            <a:schemeClr val="tx1"/>
                          </a:solidFill>
                        </a:rPr>
                        <a:t>(SSD &amp; HDD)</a:t>
                      </a: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D4"/>
                    </a:solidFill>
                  </a:tcPr>
                </a:tc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de-DE" sz="1000">
                          <a:solidFill>
                            <a:schemeClr val="tx1"/>
                          </a:solidFill>
                        </a:rPr>
                        <a:t>Column 2 (HDD)</a:t>
                      </a:r>
                      <a:endParaRPr lang="de-DE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tx1"/>
                          </a:solidFill>
                        </a:rPr>
                        <a:t>Column</a:t>
                      </a:r>
                      <a:r>
                        <a:rPr lang="de-DE" sz="1000" dirty="0">
                          <a:solidFill>
                            <a:schemeClr val="tx1"/>
                          </a:solidFill>
                        </a:rPr>
                        <a:t> 3 (HDD)</a:t>
                      </a: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8123185"/>
                  </a:ext>
                </a:extLst>
              </a:tr>
              <a:tr h="274320"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D4"/>
                    </a:solidFill>
                  </a:tcPr>
                </a:tc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72457"/>
                  </a:ext>
                </a:extLst>
              </a:tr>
              <a:tr h="274320"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D4"/>
                    </a:solidFill>
                  </a:tcPr>
                </a:tc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2681801"/>
                  </a:ext>
                </a:extLst>
              </a:tr>
              <a:tr h="274320"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D4"/>
                    </a:solidFill>
                  </a:tcPr>
                </a:tc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7989362"/>
                  </a:ext>
                </a:extLst>
              </a:tr>
              <a:tr h="274320"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D4"/>
                    </a:solidFill>
                  </a:tcPr>
                </a:tc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37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7239385"/>
                  </a:ext>
                </a:extLst>
              </a:tr>
            </a:tbl>
          </a:graphicData>
        </a:graphic>
      </p:graphicFrame>
      <p:sp>
        <p:nvSpPr>
          <p:cNvPr id="6" name="TextBox 35">
            <a:extLst>
              <a:ext uri="{FF2B5EF4-FFF2-40B4-BE49-F238E27FC236}">
                <a16:creationId xmlns:a16="http://schemas.microsoft.com/office/drawing/2014/main" id="{4E5461E9-A8AB-4A5B-8526-DDFD4C63C783}"/>
              </a:ext>
            </a:extLst>
          </p:cNvPr>
          <p:cNvSpPr txBox="1"/>
          <p:nvPr/>
        </p:nvSpPr>
        <p:spPr>
          <a:xfrm>
            <a:off x="8955043" y="1362264"/>
            <a:ext cx="185934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defRPr/>
            </a:pPr>
            <a:r>
              <a:rPr lang="de-DE" sz="2000" dirty="0">
                <a:solidFill>
                  <a:schemeClr val="bg2">
                    <a:lumMod val="20000"/>
                    <a:lumOff val="80000"/>
                  </a:schemeClr>
                </a:solidFill>
                <a:latin typeface="Segoe UI"/>
              </a:rPr>
              <a:t>Message Table</a:t>
            </a:r>
          </a:p>
        </p:txBody>
      </p:sp>
      <p:graphicFrame>
        <p:nvGraphicFramePr>
          <p:cNvPr id="7" name="Table 36">
            <a:extLst>
              <a:ext uri="{FF2B5EF4-FFF2-40B4-BE49-F238E27FC236}">
                <a16:creationId xmlns:a16="http://schemas.microsoft.com/office/drawing/2014/main" id="{3488B4B5-5699-4B3A-B54F-FE5F013A84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9207813"/>
              </p:ext>
            </p:extLst>
          </p:nvPr>
        </p:nvGraphicFramePr>
        <p:xfrm>
          <a:off x="8415639" y="3848926"/>
          <a:ext cx="2938161" cy="944880"/>
        </p:xfrm>
        <a:graphic>
          <a:graphicData uri="http://schemas.openxmlformats.org/drawingml/2006/table">
            <a:tbl>
              <a:tblPr firstRow="1" bandRow="1"/>
              <a:tblGrid>
                <a:gridCol w="979387">
                  <a:extLst>
                    <a:ext uri="{9D8B030D-6E8A-4147-A177-3AD203B41FA5}">
                      <a16:colId xmlns:a16="http://schemas.microsoft.com/office/drawing/2014/main" val="169129713"/>
                    </a:ext>
                  </a:extLst>
                </a:gridCol>
                <a:gridCol w="979387">
                  <a:extLst>
                    <a:ext uri="{9D8B030D-6E8A-4147-A177-3AD203B41FA5}">
                      <a16:colId xmlns:a16="http://schemas.microsoft.com/office/drawing/2014/main" val="3236314579"/>
                    </a:ext>
                  </a:extLst>
                </a:gridCol>
                <a:gridCol w="979387">
                  <a:extLst>
                    <a:ext uri="{9D8B030D-6E8A-4147-A177-3AD203B41FA5}">
                      <a16:colId xmlns:a16="http://schemas.microsoft.com/office/drawing/2014/main" val="514051070"/>
                    </a:ext>
                  </a:extLst>
                </a:gridCol>
              </a:tblGrid>
              <a:tr h="370840"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de-DE" sz="1000">
                          <a:solidFill>
                            <a:schemeClr val="tx1"/>
                          </a:solidFill>
                        </a:rPr>
                        <a:t>Column 1 (SSD &amp; HDD)</a:t>
                      </a:r>
                      <a:endParaRPr lang="de-DE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D4"/>
                    </a:solidFill>
                  </a:tcPr>
                </a:tc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tx1"/>
                          </a:solidFill>
                        </a:rPr>
                        <a:t>Column</a:t>
                      </a:r>
                      <a:r>
                        <a:rPr lang="de-DE" sz="1000" dirty="0">
                          <a:solidFill>
                            <a:schemeClr val="tx1"/>
                          </a:solidFill>
                        </a:rPr>
                        <a:t> 2 (SSD &amp; HDD)</a:t>
                      </a: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D4"/>
                    </a:solidFill>
                  </a:tcPr>
                </a:tc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tx1"/>
                          </a:solidFill>
                        </a:rPr>
                        <a:t>Column</a:t>
                      </a:r>
                      <a:r>
                        <a:rPr lang="de-DE" sz="1000" dirty="0">
                          <a:solidFill>
                            <a:schemeClr val="tx1"/>
                          </a:solidFill>
                        </a:rPr>
                        <a:t> 3 </a:t>
                      </a:r>
                      <a:br>
                        <a:rPr lang="de-DE" sz="1000" dirty="0">
                          <a:solidFill>
                            <a:schemeClr val="tx1"/>
                          </a:solidFill>
                        </a:rPr>
                      </a:br>
                      <a:r>
                        <a:rPr lang="de-DE" sz="1000" dirty="0">
                          <a:solidFill>
                            <a:schemeClr val="tx1"/>
                          </a:solidFill>
                        </a:rPr>
                        <a:t>(SSD &amp; HDD)</a:t>
                      </a: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8123185"/>
                  </a:ext>
                </a:extLst>
              </a:tr>
              <a:tr h="274320"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D4"/>
                    </a:solidFill>
                  </a:tcPr>
                </a:tc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D4"/>
                    </a:solidFill>
                  </a:tcPr>
                </a:tc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72457"/>
                  </a:ext>
                </a:extLst>
              </a:tr>
              <a:tr h="274320"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D4"/>
                    </a:solidFill>
                  </a:tcPr>
                </a:tc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D4"/>
                    </a:solidFill>
                  </a:tcPr>
                </a:tc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2681801"/>
                  </a:ext>
                </a:extLst>
              </a:tr>
            </a:tbl>
          </a:graphicData>
        </a:graphic>
      </p:graphicFrame>
      <p:sp>
        <p:nvSpPr>
          <p:cNvPr id="8" name="TextBox 37">
            <a:extLst>
              <a:ext uri="{FF2B5EF4-FFF2-40B4-BE49-F238E27FC236}">
                <a16:creationId xmlns:a16="http://schemas.microsoft.com/office/drawing/2014/main" id="{376A0A1D-68E9-4F59-A2B0-C43C09D8D130}"/>
              </a:ext>
            </a:extLst>
          </p:cNvPr>
          <p:cNvSpPr txBox="1"/>
          <p:nvPr/>
        </p:nvSpPr>
        <p:spPr>
          <a:xfrm>
            <a:off x="9037936" y="3503626"/>
            <a:ext cx="169356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defRPr/>
            </a:pPr>
            <a:r>
              <a:rPr lang="de-DE" sz="2000" dirty="0">
                <a:solidFill>
                  <a:schemeClr val="bg2">
                    <a:lumMod val="20000"/>
                    <a:lumOff val="80000"/>
                  </a:schemeClr>
                </a:solidFill>
                <a:latin typeface="Segoe UI"/>
              </a:rPr>
              <a:t>Mailbox  Table</a:t>
            </a:r>
          </a:p>
        </p:txBody>
      </p:sp>
      <p:graphicFrame>
        <p:nvGraphicFramePr>
          <p:cNvPr id="9" name="Table 38">
            <a:extLst>
              <a:ext uri="{FF2B5EF4-FFF2-40B4-BE49-F238E27FC236}">
                <a16:creationId xmlns:a16="http://schemas.microsoft.com/office/drawing/2014/main" id="{4C7E3001-4E7A-45D2-9A3F-62F0818042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272452"/>
              </p:ext>
            </p:extLst>
          </p:nvPr>
        </p:nvGraphicFramePr>
        <p:xfrm>
          <a:off x="8415639" y="5326112"/>
          <a:ext cx="2938161" cy="944880"/>
        </p:xfrm>
        <a:graphic>
          <a:graphicData uri="http://schemas.openxmlformats.org/drawingml/2006/table">
            <a:tbl>
              <a:tblPr firstRow="1" bandRow="1"/>
              <a:tblGrid>
                <a:gridCol w="979387">
                  <a:extLst>
                    <a:ext uri="{9D8B030D-6E8A-4147-A177-3AD203B41FA5}">
                      <a16:colId xmlns:a16="http://schemas.microsoft.com/office/drawing/2014/main" val="169129713"/>
                    </a:ext>
                  </a:extLst>
                </a:gridCol>
                <a:gridCol w="979387">
                  <a:extLst>
                    <a:ext uri="{9D8B030D-6E8A-4147-A177-3AD203B41FA5}">
                      <a16:colId xmlns:a16="http://schemas.microsoft.com/office/drawing/2014/main" val="3236314579"/>
                    </a:ext>
                  </a:extLst>
                </a:gridCol>
                <a:gridCol w="979387">
                  <a:extLst>
                    <a:ext uri="{9D8B030D-6E8A-4147-A177-3AD203B41FA5}">
                      <a16:colId xmlns:a16="http://schemas.microsoft.com/office/drawing/2014/main" val="514051070"/>
                    </a:ext>
                  </a:extLst>
                </a:gridCol>
              </a:tblGrid>
              <a:tr h="370840"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tx1"/>
                          </a:solidFill>
                        </a:rPr>
                        <a:t>Column</a:t>
                      </a:r>
                      <a:r>
                        <a:rPr lang="de-DE" sz="1000" dirty="0">
                          <a:solidFill>
                            <a:schemeClr val="tx1"/>
                          </a:solidFill>
                        </a:rPr>
                        <a:t> 1 (SSD &amp; HDD)</a:t>
                      </a: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D4"/>
                    </a:solidFill>
                  </a:tcPr>
                </a:tc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de-DE" sz="1000">
                          <a:solidFill>
                            <a:schemeClr val="tx1"/>
                          </a:solidFill>
                        </a:rPr>
                        <a:t>Column 2 (SSD &amp; HDD)</a:t>
                      </a:r>
                      <a:endParaRPr lang="de-DE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D4"/>
                    </a:solidFill>
                  </a:tcPr>
                </a:tc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de-DE" sz="1000" dirty="0" err="1">
                          <a:solidFill>
                            <a:schemeClr val="tx1"/>
                          </a:solidFill>
                        </a:rPr>
                        <a:t>Column</a:t>
                      </a:r>
                      <a:r>
                        <a:rPr lang="de-DE" sz="1000" dirty="0">
                          <a:solidFill>
                            <a:schemeClr val="tx1"/>
                          </a:solidFill>
                        </a:rPr>
                        <a:t> 3 </a:t>
                      </a:r>
                      <a:br>
                        <a:rPr lang="de-DE" sz="1000" dirty="0">
                          <a:solidFill>
                            <a:schemeClr val="tx1"/>
                          </a:solidFill>
                        </a:rPr>
                      </a:br>
                      <a:r>
                        <a:rPr lang="de-DE" sz="1000" dirty="0">
                          <a:solidFill>
                            <a:schemeClr val="tx1"/>
                          </a:solidFill>
                        </a:rPr>
                        <a:t>(SSD &amp; HDD)</a:t>
                      </a: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8123185"/>
                  </a:ext>
                </a:extLst>
              </a:tr>
              <a:tr h="274320"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D4"/>
                    </a:solidFill>
                  </a:tcPr>
                </a:tc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D4"/>
                    </a:solidFill>
                  </a:tcPr>
                </a:tc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72457"/>
                  </a:ext>
                </a:extLst>
              </a:tr>
              <a:tr h="274320"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D4"/>
                    </a:solidFill>
                  </a:tcPr>
                </a:tc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D4"/>
                    </a:solidFill>
                  </a:tcPr>
                </a:tc>
                <a:tc>
                  <a:txBody>
                    <a:bodyPr/>
                    <a:lstStyle>
                      <a:lvl1pPr marL="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1pPr>
                      <a:lvl2pPr marL="45706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2pPr>
                      <a:lvl3pPr marL="914127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3pPr>
                      <a:lvl4pPr marL="137119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4pPr>
                      <a:lvl5pPr marL="1828252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5pPr>
                      <a:lvl6pPr marL="228531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6pPr>
                      <a:lvl7pPr marL="2742378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7pPr>
                      <a:lvl8pPr marL="3199440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8pPr>
                      <a:lvl9pPr marL="3656504" algn="l" defTabSz="91412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Segoe UI"/>
                        </a:defRPr>
                      </a:lvl9pPr>
                    </a:lstStyle>
                    <a:p>
                      <a:endParaRPr lang="de-DE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1A1A1A"/>
                      </a:solidFill>
                    </a:lnL>
                    <a:lnR w="12700" cmpd="sng">
                      <a:solidFill>
                        <a:srgbClr val="1A1A1A"/>
                      </a:solidFill>
                    </a:lnR>
                    <a:lnT w="12700" cmpd="sng">
                      <a:solidFill>
                        <a:srgbClr val="1A1A1A"/>
                      </a:solidFill>
                    </a:lnT>
                    <a:lnB w="12700" cmpd="sng">
                      <a:solidFill>
                        <a:srgbClr val="1A1A1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2681801"/>
                  </a:ext>
                </a:extLst>
              </a:tr>
            </a:tbl>
          </a:graphicData>
        </a:graphic>
      </p:graphicFrame>
      <p:sp>
        <p:nvSpPr>
          <p:cNvPr id="10" name="TextBox 39">
            <a:extLst>
              <a:ext uri="{FF2B5EF4-FFF2-40B4-BE49-F238E27FC236}">
                <a16:creationId xmlns:a16="http://schemas.microsoft.com/office/drawing/2014/main" id="{92BC81D2-6FB2-4CE1-ABA3-02A4627BB668}"/>
              </a:ext>
            </a:extLst>
          </p:cNvPr>
          <p:cNvSpPr txBox="1"/>
          <p:nvPr/>
        </p:nvSpPr>
        <p:spPr>
          <a:xfrm>
            <a:off x="8542803" y="5018335"/>
            <a:ext cx="268382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defRPr/>
            </a:pPr>
            <a:r>
              <a:rPr lang="de-DE" sz="2000" dirty="0" err="1">
                <a:solidFill>
                  <a:schemeClr val="bg2">
                    <a:lumMod val="20000"/>
                    <a:lumOff val="80000"/>
                  </a:schemeClr>
                </a:solidFill>
                <a:latin typeface="Segoe UI"/>
              </a:rPr>
              <a:t>Named</a:t>
            </a:r>
            <a:r>
              <a:rPr lang="de-DE" sz="2000" dirty="0">
                <a:solidFill>
                  <a:schemeClr val="bg2">
                    <a:lumMod val="20000"/>
                    <a:lumOff val="80000"/>
                  </a:schemeClr>
                </a:solidFill>
                <a:latin typeface="Segoe UI"/>
              </a:rPr>
              <a:t> Property Table</a:t>
            </a:r>
          </a:p>
        </p:txBody>
      </p:sp>
    </p:spTree>
    <p:extLst>
      <p:ext uri="{BB962C8B-B14F-4D97-AF65-F5344CB8AC3E}">
        <p14:creationId xmlns:p14="http://schemas.microsoft.com/office/powerpoint/2010/main" val="30492719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8" grpId="0"/>
      <p:bldP spid="10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err="1"/>
              <a:t>MetaCacheDatabas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199" y="1520890"/>
            <a:ext cx="11027735" cy="4656073"/>
          </a:xfrm>
        </p:spPr>
        <p:txBody>
          <a:bodyPr>
            <a:normAutofit lnSpcReduction="10000"/>
          </a:bodyPr>
          <a:lstStyle/>
          <a:p>
            <a:pPr marL="457200" indent="-457200">
              <a:buFont typeface="+mj-lt"/>
              <a:buAutoNum type="arabicPeriod"/>
            </a:pPr>
            <a:r>
              <a:rPr lang="de-DE" sz="2600" b="1" dirty="0"/>
              <a:t>Voraussetzung</a:t>
            </a:r>
          </a:p>
          <a:p>
            <a:pPr lvl="1"/>
            <a:r>
              <a:rPr lang="de-DE" sz="2000" dirty="0" err="1"/>
              <a:t>Reseed</a:t>
            </a:r>
            <a:r>
              <a:rPr lang="de-DE" sz="2000" dirty="0"/>
              <a:t>-aktivierte DAG (PA), symmetrische SSD Anzahl &amp; Große für jeden Server</a:t>
            </a:r>
          </a:p>
          <a:p>
            <a:pPr marL="457200" indent="-457200">
              <a:buFont typeface="+mj-lt"/>
              <a:buAutoNum type="arabicPeriod"/>
            </a:pPr>
            <a:r>
              <a:rPr lang="de-DE" sz="2600" b="1" dirty="0"/>
              <a:t>MCDB für eine DAG aktivieren</a:t>
            </a:r>
          </a:p>
          <a:p>
            <a:pPr marL="534831" lvl="1" indent="0">
              <a:buNone/>
            </a:pPr>
            <a:r>
              <a:rPr lang="de-DE" sz="1500" b="1" dirty="0">
                <a:latin typeface="Consolas" panose="020B0609020204030204" pitchFamily="49" charset="0"/>
              </a:rPr>
              <a:t>Manage-MCDB -</a:t>
            </a:r>
            <a:r>
              <a:rPr lang="de-DE" sz="1500" b="1" dirty="0" err="1">
                <a:latin typeface="Consolas" panose="020B0609020204030204" pitchFamily="49" charset="0"/>
              </a:rPr>
              <a:t>DagName</a:t>
            </a:r>
            <a:r>
              <a:rPr lang="de-DE" sz="1500" b="1" dirty="0">
                <a:latin typeface="Consolas" panose="020B0609020204030204" pitchFamily="49" charset="0"/>
              </a:rPr>
              <a:t> TestDag1 -</a:t>
            </a:r>
            <a:r>
              <a:rPr lang="de-DE" sz="1500" b="1" dirty="0" err="1">
                <a:highlight>
                  <a:srgbClr val="008080"/>
                </a:highlight>
                <a:latin typeface="Consolas" panose="020B0609020204030204" pitchFamily="49" charset="0"/>
              </a:rPr>
              <a:t>ConfigureMCDBPrerequisite</a:t>
            </a:r>
            <a:r>
              <a:rPr lang="de-DE" sz="1500" b="1" dirty="0">
                <a:latin typeface="Consolas" panose="020B0609020204030204" pitchFamily="49" charset="0"/>
              </a:rPr>
              <a:t> -</a:t>
            </a:r>
            <a:r>
              <a:rPr lang="de-DE" sz="1500" b="1" dirty="0" err="1">
                <a:latin typeface="Consolas" panose="020B0609020204030204" pitchFamily="49" charset="0"/>
              </a:rPr>
              <a:t>SSDSizeInBytes</a:t>
            </a:r>
            <a:r>
              <a:rPr lang="de-DE" sz="1500" b="1" dirty="0">
                <a:latin typeface="Consolas" panose="020B0609020204030204" pitchFamily="49" charset="0"/>
              </a:rPr>
              <a:t> 5242880000 -</a:t>
            </a:r>
            <a:r>
              <a:rPr lang="de-DE" sz="1500" b="1" dirty="0" err="1">
                <a:latin typeface="Consolas" panose="020B0609020204030204" pitchFamily="49" charset="0"/>
              </a:rPr>
              <a:t>SSDCountPerServer</a:t>
            </a:r>
            <a:r>
              <a:rPr lang="de-DE" sz="1500" b="1" dirty="0">
                <a:latin typeface="Consolas" panose="020B0609020204030204" pitchFamily="49" charset="0"/>
              </a:rPr>
              <a:t> 2</a:t>
            </a:r>
            <a:br>
              <a:rPr lang="de-DE" sz="1500" b="1" dirty="0">
                <a:latin typeface="Consolas" panose="020B0609020204030204" pitchFamily="49" charset="0"/>
              </a:rPr>
            </a:br>
            <a:endParaRPr lang="de-DE" sz="1500" b="1" dirty="0">
              <a:latin typeface="Consolas" panose="020B0609020204030204" pitchFamily="49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de-DE" sz="2600" b="1" dirty="0"/>
              <a:t>MCDB für einen DAG Mitgliedsserver DAG aktivieren</a:t>
            </a:r>
          </a:p>
          <a:p>
            <a:pPr marL="534831" lvl="1" indent="0">
              <a:buNone/>
            </a:pPr>
            <a:r>
              <a:rPr lang="de-DE" sz="1500" b="1" dirty="0">
                <a:latin typeface="Consolas" panose="020B0609020204030204" pitchFamily="49" charset="0"/>
              </a:rPr>
              <a:t>Manage-MCDB -</a:t>
            </a:r>
            <a:r>
              <a:rPr lang="de-DE" sz="1500" b="1" dirty="0" err="1">
                <a:latin typeface="Consolas" panose="020B0609020204030204" pitchFamily="49" charset="0"/>
              </a:rPr>
              <a:t>DagName</a:t>
            </a:r>
            <a:r>
              <a:rPr lang="de-DE" sz="1500" b="1" dirty="0">
                <a:latin typeface="Consolas" panose="020B0609020204030204" pitchFamily="49" charset="0"/>
              </a:rPr>
              <a:t> TestDag1 -</a:t>
            </a:r>
            <a:r>
              <a:rPr lang="de-DE" sz="1500" b="1" dirty="0" err="1">
                <a:highlight>
                  <a:srgbClr val="008080"/>
                </a:highlight>
                <a:latin typeface="Consolas" panose="020B0609020204030204" pitchFamily="49" charset="0"/>
              </a:rPr>
              <a:t>ServerAllowMCDB</a:t>
            </a:r>
            <a:r>
              <a:rPr lang="de-DE" sz="1500" b="1" dirty="0">
                <a:latin typeface="Consolas" panose="020B0609020204030204" pitchFamily="49" charset="0"/>
              </a:rPr>
              <a:t>:$</a:t>
            </a:r>
            <a:r>
              <a:rPr lang="de-DE" sz="1500" b="1" dirty="0" err="1">
                <a:latin typeface="Consolas" panose="020B0609020204030204" pitchFamily="49" charset="0"/>
              </a:rPr>
              <a:t>true</a:t>
            </a:r>
            <a:r>
              <a:rPr lang="de-DE" sz="1500" b="1" dirty="0">
                <a:latin typeface="Consolas" panose="020B0609020204030204" pitchFamily="49" charset="0"/>
              </a:rPr>
              <a:t> -</a:t>
            </a:r>
            <a:r>
              <a:rPr lang="de-DE" sz="1500" b="1" dirty="0" err="1">
                <a:latin typeface="Consolas" panose="020B0609020204030204" pitchFamily="49" charset="0"/>
              </a:rPr>
              <a:t>ServerName</a:t>
            </a:r>
            <a:r>
              <a:rPr lang="de-DE" sz="1500" b="1" dirty="0">
                <a:latin typeface="Consolas" panose="020B0609020204030204" pitchFamily="49" charset="0"/>
              </a:rPr>
              <a:t> DEBEREX01</a:t>
            </a:r>
          </a:p>
          <a:p>
            <a:pPr marL="534831" lvl="1" indent="0">
              <a:buNone/>
            </a:pPr>
            <a:endParaRPr lang="de-DE" sz="1500" b="1" dirty="0">
              <a:latin typeface="Consolas" panose="020B0609020204030204" pitchFamily="49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de-DE" sz="2600" b="1" dirty="0"/>
              <a:t>MCDB SSDs und Mount Points konfigurieren</a:t>
            </a:r>
          </a:p>
          <a:p>
            <a:pPr marL="534831" lvl="1" indent="0">
              <a:buNone/>
            </a:pPr>
            <a:r>
              <a:rPr lang="de-DE" sz="1500" b="1" dirty="0">
                <a:latin typeface="Consolas" panose="020B0609020204030204" pitchFamily="49" charset="0"/>
              </a:rPr>
              <a:t>Manage-MCDB -</a:t>
            </a:r>
            <a:r>
              <a:rPr lang="de-DE" sz="1500" b="1" dirty="0" err="1">
                <a:latin typeface="Consolas" panose="020B0609020204030204" pitchFamily="49" charset="0"/>
              </a:rPr>
              <a:t>DagName</a:t>
            </a:r>
            <a:r>
              <a:rPr lang="de-DE" sz="1500" b="1" dirty="0">
                <a:latin typeface="Consolas" panose="020B0609020204030204" pitchFamily="49" charset="0"/>
              </a:rPr>
              <a:t> TestDag1 -</a:t>
            </a:r>
            <a:r>
              <a:rPr lang="de-DE" sz="1500" b="1" dirty="0" err="1">
                <a:highlight>
                  <a:srgbClr val="008080"/>
                </a:highlight>
                <a:latin typeface="Consolas" panose="020B0609020204030204" pitchFamily="49" charset="0"/>
              </a:rPr>
              <a:t>ConfigureMCDBOnServer</a:t>
            </a:r>
            <a:r>
              <a:rPr lang="de-DE" sz="1500" b="1" dirty="0">
                <a:latin typeface="Consolas" panose="020B0609020204030204" pitchFamily="49" charset="0"/>
              </a:rPr>
              <a:t> -</a:t>
            </a:r>
            <a:r>
              <a:rPr lang="de-DE" sz="1500" b="1" dirty="0" err="1">
                <a:latin typeface="Consolas" panose="020B0609020204030204" pitchFamily="49" charset="0"/>
              </a:rPr>
              <a:t>ServerName</a:t>
            </a:r>
            <a:r>
              <a:rPr lang="de-DE" sz="1500" b="1" dirty="0">
                <a:latin typeface="Consolas" panose="020B0609020204030204" pitchFamily="49" charset="0"/>
              </a:rPr>
              <a:t> DEBEREX01 -</a:t>
            </a:r>
            <a:r>
              <a:rPr lang="de-DE" sz="1500" b="1" dirty="0" err="1">
                <a:latin typeface="Consolas" panose="020B0609020204030204" pitchFamily="49" charset="0"/>
              </a:rPr>
              <a:t>SSDSizeInBytes</a:t>
            </a:r>
            <a:r>
              <a:rPr lang="de-DE" sz="1500" b="1" dirty="0">
                <a:latin typeface="Consolas" panose="020B0609020204030204" pitchFamily="49" charset="0"/>
              </a:rPr>
              <a:t> 5242880000</a:t>
            </a:r>
            <a:br>
              <a:rPr lang="de-DE" sz="1500" b="1" dirty="0">
                <a:latin typeface="Consolas" panose="020B0609020204030204" pitchFamily="49" charset="0"/>
              </a:rPr>
            </a:br>
            <a:endParaRPr lang="de-DE" sz="1500" b="1" dirty="0">
              <a:latin typeface="Consolas" panose="020B0609020204030204" pitchFamily="49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de-DE" sz="2600" b="1" dirty="0"/>
              <a:t>MCDB Health-Status prüfen</a:t>
            </a:r>
          </a:p>
          <a:p>
            <a:pPr marL="534831" lvl="1" indent="0">
              <a:buNone/>
            </a:pPr>
            <a:r>
              <a:rPr lang="de-DE" sz="1500" b="1" dirty="0" err="1">
                <a:latin typeface="Consolas" panose="020B0609020204030204" pitchFamily="49" charset="0"/>
              </a:rPr>
              <a:t>Get-MailboxDatabaseCopyStatus</a:t>
            </a:r>
            <a:endParaRPr lang="de-DE" sz="1500" b="1" dirty="0">
              <a:latin typeface="Consolas" panose="020B0609020204030204" pitchFamily="49" charset="0"/>
            </a:endParaRPr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Einrichtung</a:t>
            </a:r>
          </a:p>
        </p:txBody>
      </p:sp>
      <p:sp>
        <p:nvSpPr>
          <p:cNvPr id="5" name="Rechteck 4"/>
          <p:cNvSpPr/>
          <p:nvPr/>
        </p:nvSpPr>
        <p:spPr>
          <a:xfrm>
            <a:off x="5326813" y="6335589"/>
            <a:ext cx="346312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hlinkClick r:id="rId3"/>
              </a:rPr>
              <a:t>https://go.granikos.eu/EX19MCDB</a:t>
            </a:r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6818957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err="1"/>
              <a:t>MetaCache</a:t>
            </a:r>
            <a:r>
              <a:rPr lang="de-DE" dirty="0"/>
              <a:t> Databa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MCDB </a:t>
            </a:r>
            <a:r>
              <a:rPr lang="de-DE" dirty="0" err="1"/>
              <a:t>Health</a:t>
            </a:r>
            <a:r>
              <a:rPr lang="de-DE" dirty="0"/>
              <a:t> Status</a:t>
            </a:r>
          </a:p>
        </p:txBody>
      </p:sp>
      <p:graphicFrame>
        <p:nvGraphicFramePr>
          <p:cNvPr id="5" name="Inhaltsplatzhalter 4">
            <a:extLst>
              <a:ext uri="{FF2B5EF4-FFF2-40B4-BE49-F238E27FC236}">
                <a16:creationId xmlns:a16="http://schemas.microsoft.com/office/drawing/2014/main" id="{72FCE2C9-019F-44A9-BCB7-5D6006A1881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52216141"/>
              </p:ext>
            </p:extLst>
          </p:nvPr>
        </p:nvGraphicFramePr>
        <p:xfrm>
          <a:off x="838200" y="1990340"/>
          <a:ext cx="10099089" cy="3037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80856">
                  <a:extLst>
                    <a:ext uri="{9D8B030D-6E8A-4147-A177-3AD203B41FA5}">
                      <a16:colId xmlns:a16="http://schemas.microsoft.com/office/drawing/2014/main" val="4260722513"/>
                    </a:ext>
                  </a:extLst>
                </a:gridCol>
                <a:gridCol w="7618233">
                  <a:extLst>
                    <a:ext uri="{9D8B030D-6E8A-4147-A177-3AD203B41FA5}">
                      <a16:colId xmlns:a16="http://schemas.microsoft.com/office/drawing/2014/main" val="412116342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Statu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Beschreibu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760370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Disabl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MCDB ist abgeschalte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392220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/>
                        <a:t>StorageOfflin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Basis-Infrastruktur fehlt oder es kann nicht darauf zugegriffen werden, z.B. fehlen Mount-Points oder Dateipfade</a:t>
                      </a:r>
                      <a:br>
                        <a:rPr lang="de-DE" dirty="0"/>
                      </a:br>
                      <a:r>
                        <a:rPr lang="de-DE" dirty="0"/>
                        <a:t>Dieser Status tritt nach einem SSD-Fehler e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183217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/>
                        <a:t>Offlin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Fehler auf logischer Ebene, z.B. fehlende MCDB Instanz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988839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/>
                        <a:t>Initializing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Vorübergehender Status, während das System bestimmt, welcher Betriebsstatus vorlieg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64514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/>
                        <a:t>Healthy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Betriebsberei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32523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2289150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err="1"/>
              <a:t>MetaCache</a:t>
            </a:r>
            <a:r>
              <a:rPr lang="de-DE" dirty="0"/>
              <a:t> Databas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520890"/>
            <a:ext cx="6948635" cy="5158758"/>
          </a:xfrm>
        </p:spPr>
        <p:txBody>
          <a:bodyPr>
            <a:normAutofit fontScale="85000" lnSpcReduction="10000"/>
          </a:bodyPr>
          <a:lstStyle/>
          <a:p>
            <a:r>
              <a:rPr lang="de-DE" b="1" dirty="0"/>
              <a:t>Layout</a:t>
            </a:r>
          </a:p>
          <a:p>
            <a:pPr lvl="1"/>
            <a:r>
              <a:rPr lang="de-DE" dirty="0"/>
              <a:t>1 MCDB Instanz für jede Datenbank-Instanz</a:t>
            </a:r>
          </a:p>
          <a:p>
            <a:pPr lvl="1"/>
            <a:r>
              <a:rPr lang="de-DE" dirty="0"/>
              <a:t>Beispiel Server: 12 HDDs, 4 SSDs, 4 DBs pro HDD</a:t>
            </a:r>
          </a:p>
          <a:p>
            <a:pPr lvl="1"/>
            <a:r>
              <a:rPr lang="de-DE" dirty="0"/>
              <a:t>3 HDDs pro SSD * 4 DBs pro HDD = 12 MCDBs pro SSD</a:t>
            </a:r>
          </a:p>
          <a:p>
            <a:r>
              <a:rPr lang="de-DE" b="1" dirty="0"/>
              <a:t>Wachstums- &amp; Kapazitätsgrenzen</a:t>
            </a:r>
          </a:p>
          <a:p>
            <a:pPr lvl="1"/>
            <a:r>
              <a:rPr lang="de-DE" dirty="0"/>
              <a:t>Daten werden automatisch auf SSD repliziert MCDB </a:t>
            </a:r>
          </a:p>
          <a:p>
            <a:pPr lvl="2"/>
            <a:r>
              <a:rPr lang="de-DE" dirty="0" err="1"/>
              <a:t>Quota</a:t>
            </a:r>
            <a:r>
              <a:rPr lang="de-DE" dirty="0"/>
              <a:t> = (SSD Größe * 0.95) / DB Anzahl </a:t>
            </a:r>
            <a:r>
              <a:rPr lang="de-DE" i="1" dirty="0"/>
              <a:t>pro</a:t>
            </a:r>
            <a:r>
              <a:rPr lang="de-DE" dirty="0"/>
              <a:t> SSD</a:t>
            </a:r>
          </a:p>
          <a:p>
            <a:pPr lvl="2"/>
            <a:r>
              <a:rPr lang="de-DE" dirty="0"/>
              <a:t>Beispiel: 960GB * 0.95 / 12 = 76GB </a:t>
            </a:r>
            <a:r>
              <a:rPr lang="de-DE" i="1" dirty="0"/>
              <a:t>pro</a:t>
            </a:r>
            <a:r>
              <a:rPr lang="de-DE" dirty="0"/>
              <a:t> MCDB Instanz</a:t>
            </a:r>
          </a:p>
          <a:p>
            <a:pPr lvl="1"/>
            <a:r>
              <a:rPr lang="de-DE" dirty="0"/>
              <a:t>Erreichen der Grenzwerte führt zu Cache-Freigabe</a:t>
            </a:r>
          </a:p>
          <a:p>
            <a:pPr lvl="2"/>
            <a:r>
              <a:rPr lang="de-DE" dirty="0"/>
              <a:t>Größte Tabellen zuerst, basierend auf </a:t>
            </a:r>
            <a:r>
              <a:rPr lang="de-DE" i="1" dirty="0" err="1"/>
              <a:t>DocId</a:t>
            </a:r>
            <a:r>
              <a:rPr lang="de-DE" dirty="0"/>
              <a:t> („älteste‘ Nachrichten zuerst)</a:t>
            </a:r>
          </a:p>
          <a:p>
            <a:pPr lvl="1"/>
            <a:r>
              <a:rPr lang="de-DE" dirty="0"/>
              <a:t>Cache- Freigabe schützt vor “</a:t>
            </a:r>
            <a:r>
              <a:rPr lang="de-DE" dirty="0" err="1"/>
              <a:t>Noisy</a:t>
            </a:r>
            <a:r>
              <a:rPr lang="de-DE" dirty="0"/>
              <a:t> </a:t>
            </a:r>
            <a:r>
              <a:rPr lang="de-DE" dirty="0" err="1"/>
              <a:t>Neighbors</a:t>
            </a:r>
            <a:r>
              <a:rPr lang="de-DE" dirty="0"/>
              <a:t>” und </a:t>
            </a:r>
            <a:r>
              <a:rPr lang="de-DE" dirty="0" err="1"/>
              <a:t>Resets</a:t>
            </a:r>
            <a:endParaRPr lang="de-DE" dirty="0"/>
          </a:p>
          <a:p>
            <a:pPr lvl="2"/>
            <a:r>
              <a:rPr lang="de-DE" dirty="0"/>
              <a:t>MCDB </a:t>
            </a:r>
            <a:r>
              <a:rPr lang="de-DE" dirty="0" err="1"/>
              <a:t>Reset</a:t>
            </a:r>
            <a:r>
              <a:rPr lang="de-DE" dirty="0"/>
              <a:t> = Löschung des gesamten SSD Inhalts und neue Replizierung</a:t>
            </a:r>
          </a:p>
          <a:p>
            <a:pPr lvl="2"/>
            <a:r>
              <a:rPr lang="de-DE" dirty="0"/>
              <a:t>Ausgelöst durch DB-Einbindung und Kopie ohne MCDB Instanz mit „</a:t>
            </a:r>
            <a:r>
              <a:rPr lang="de-DE" dirty="0" err="1"/>
              <a:t>healthy</a:t>
            </a:r>
            <a:r>
              <a:rPr lang="de-DE" dirty="0"/>
              <a:t>“-Status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Betrieb</a:t>
            </a:r>
          </a:p>
        </p:txBody>
      </p:sp>
      <p:sp>
        <p:nvSpPr>
          <p:cNvPr id="5" name="Rectangle: Rounded Corners 3">
            <a:extLst>
              <a:ext uri="{FF2B5EF4-FFF2-40B4-BE49-F238E27FC236}">
                <a16:creationId xmlns:a16="http://schemas.microsoft.com/office/drawing/2014/main" id="{61A8CEEB-04A7-4E2C-A326-8BDA78997065}"/>
              </a:ext>
            </a:extLst>
          </p:cNvPr>
          <p:cNvSpPr/>
          <p:nvPr/>
        </p:nvSpPr>
        <p:spPr>
          <a:xfrm>
            <a:off x="8664594" y="2324179"/>
            <a:ext cx="3301721" cy="2755503"/>
          </a:xfrm>
          <a:prstGeom prst="roundRect">
            <a:avLst>
              <a:gd name="adj" fmla="val 6976"/>
            </a:avLst>
          </a:prstGeom>
          <a:solidFill>
            <a:schemeClr val="tx2">
              <a:lumMod val="25000"/>
            </a:schemeClr>
          </a:solidFill>
          <a:ln w="10795" cap="flat" cmpd="sng" algn="ctr">
            <a:solidFill>
              <a:srgbClr val="1A1A1A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765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erver</a:t>
            </a:r>
          </a:p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76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12x HDD</a:t>
            </a:r>
          </a:p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76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4x SSD</a:t>
            </a:r>
          </a:p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6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6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6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6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6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6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Rectangle: Rounded Corners 24">
            <a:extLst>
              <a:ext uri="{FF2B5EF4-FFF2-40B4-BE49-F238E27FC236}">
                <a16:creationId xmlns:a16="http://schemas.microsoft.com/office/drawing/2014/main" id="{955176E7-45C7-44B9-BE12-95D572909CF1}"/>
              </a:ext>
            </a:extLst>
          </p:cNvPr>
          <p:cNvSpPr/>
          <p:nvPr/>
        </p:nvSpPr>
        <p:spPr>
          <a:xfrm>
            <a:off x="9316667" y="3437370"/>
            <a:ext cx="1081924" cy="1117600"/>
          </a:xfrm>
          <a:prstGeom prst="roundRect">
            <a:avLst/>
          </a:prstGeom>
          <a:solidFill>
            <a:srgbClr val="737373"/>
          </a:solidFill>
          <a:ln w="10795" cap="flat" cmpd="sng" algn="ctr">
            <a:solidFill>
              <a:srgbClr val="737373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6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" name="Rectangle: Rounded Corners 23">
            <a:extLst>
              <a:ext uri="{FF2B5EF4-FFF2-40B4-BE49-F238E27FC236}">
                <a16:creationId xmlns:a16="http://schemas.microsoft.com/office/drawing/2014/main" id="{F9626815-9916-4493-A1C9-48E602A927EE}"/>
              </a:ext>
            </a:extLst>
          </p:cNvPr>
          <p:cNvSpPr/>
          <p:nvPr/>
        </p:nvSpPr>
        <p:spPr>
          <a:xfrm>
            <a:off x="9087852" y="3601720"/>
            <a:ext cx="1081924" cy="1117600"/>
          </a:xfrm>
          <a:prstGeom prst="roundRect">
            <a:avLst/>
          </a:prstGeom>
          <a:solidFill>
            <a:srgbClr val="737373"/>
          </a:solidFill>
          <a:ln w="10795" cap="flat" cmpd="sng" algn="ctr">
            <a:solidFill>
              <a:srgbClr val="737373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6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95331F01-7489-49EF-9556-7D2C61FFCC94}"/>
              </a:ext>
            </a:extLst>
          </p:cNvPr>
          <p:cNvSpPr/>
          <p:nvPr/>
        </p:nvSpPr>
        <p:spPr>
          <a:xfrm>
            <a:off x="8876223" y="3747376"/>
            <a:ext cx="1081924" cy="1117600"/>
          </a:xfrm>
          <a:prstGeom prst="roundRect">
            <a:avLst/>
          </a:prstGeom>
          <a:solidFill>
            <a:srgbClr val="737373"/>
          </a:solidFill>
          <a:ln w="10795" cap="flat" cmpd="sng" algn="ctr">
            <a:solidFill>
              <a:srgbClr val="737373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765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HDD</a:t>
            </a:r>
          </a:p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76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1.edb</a:t>
            </a:r>
          </a:p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76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…</a:t>
            </a:r>
          </a:p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76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4.edb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5A8AA5CD-82D8-484C-8FDB-1C1500A3F10D}"/>
              </a:ext>
            </a:extLst>
          </p:cNvPr>
          <p:cNvSpPr/>
          <p:nvPr/>
        </p:nvSpPr>
        <p:spPr>
          <a:xfrm>
            <a:off x="10169776" y="3747376"/>
            <a:ext cx="1631429" cy="1117600"/>
          </a:xfrm>
          <a:prstGeom prst="roundRect">
            <a:avLst/>
          </a:prstGeom>
          <a:solidFill>
            <a:srgbClr val="0078D4"/>
          </a:solidFill>
          <a:ln w="10795" cap="flat" cmpd="sng" algn="ctr">
            <a:solidFill>
              <a:srgbClr val="0078D4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765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SD</a:t>
            </a:r>
          </a:p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76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1.mcdb.edb</a:t>
            </a:r>
          </a:p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76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…</a:t>
            </a:r>
          </a:p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76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12.mcdb.edb</a:t>
            </a:r>
          </a:p>
        </p:txBody>
      </p:sp>
      <p:sp>
        <p:nvSpPr>
          <p:cNvPr id="10" name="Flowchart: Magnetic Disk 9">
            <a:extLst>
              <a:ext uri="{FF2B5EF4-FFF2-40B4-BE49-F238E27FC236}">
                <a16:creationId xmlns:a16="http://schemas.microsoft.com/office/drawing/2014/main" id="{F670CA35-04ED-47D7-A76D-881E5E867656}"/>
              </a:ext>
            </a:extLst>
          </p:cNvPr>
          <p:cNvSpPr/>
          <p:nvPr/>
        </p:nvSpPr>
        <p:spPr>
          <a:xfrm>
            <a:off x="7773079" y="5686505"/>
            <a:ext cx="660520" cy="415208"/>
          </a:xfrm>
          <a:prstGeom prst="flowChartMagneticDisk">
            <a:avLst/>
          </a:prstGeom>
          <a:solidFill>
            <a:srgbClr val="737373"/>
          </a:solidFill>
          <a:ln w="17145" cap="flat" cmpd="sng" algn="ctr">
            <a:solidFill>
              <a:srgbClr val="FFFFFF">
                <a:shade val="95000"/>
                <a:alpha val="50000"/>
                <a:satMod val="1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76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HDD</a:t>
            </a:r>
          </a:p>
        </p:txBody>
      </p:sp>
      <p:sp>
        <p:nvSpPr>
          <p:cNvPr id="11" name="Flowchart: Magnetic Disk 10">
            <a:extLst>
              <a:ext uri="{FF2B5EF4-FFF2-40B4-BE49-F238E27FC236}">
                <a16:creationId xmlns:a16="http://schemas.microsoft.com/office/drawing/2014/main" id="{2032AB6F-B021-4BF0-897E-5B3BB7C14704}"/>
              </a:ext>
            </a:extLst>
          </p:cNvPr>
          <p:cNvSpPr/>
          <p:nvPr/>
        </p:nvSpPr>
        <p:spPr>
          <a:xfrm>
            <a:off x="8482526" y="5686504"/>
            <a:ext cx="660520" cy="415208"/>
          </a:xfrm>
          <a:prstGeom prst="flowChartMagneticDisk">
            <a:avLst/>
          </a:prstGeom>
          <a:solidFill>
            <a:srgbClr val="737373"/>
          </a:solidFill>
          <a:ln w="17145" cap="flat" cmpd="sng" algn="ctr">
            <a:solidFill>
              <a:srgbClr val="FFFFFF">
                <a:shade val="95000"/>
                <a:alpha val="50000"/>
                <a:satMod val="1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76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HDD</a:t>
            </a:r>
          </a:p>
        </p:txBody>
      </p:sp>
      <p:sp>
        <p:nvSpPr>
          <p:cNvPr id="12" name="Flowchart: Magnetic Disk 11">
            <a:extLst>
              <a:ext uri="{FF2B5EF4-FFF2-40B4-BE49-F238E27FC236}">
                <a16:creationId xmlns:a16="http://schemas.microsoft.com/office/drawing/2014/main" id="{707F3A51-6463-4953-981B-FAB4AAB83A70}"/>
              </a:ext>
            </a:extLst>
          </p:cNvPr>
          <p:cNvSpPr/>
          <p:nvPr/>
        </p:nvSpPr>
        <p:spPr>
          <a:xfrm>
            <a:off x="8482526" y="6264440"/>
            <a:ext cx="660520" cy="415208"/>
          </a:xfrm>
          <a:prstGeom prst="flowChartMagneticDisk">
            <a:avLst/>
          </a:prstGeom>
          <a:solidFill>
            <a:srgbClr val="0078D4"/>
          </a:solidFill>
          <a:ln w="17145" cap="flat" cmpd="sng" algn="ctr">
            <a:solidFill>
              <a:srgbClr val="FFFFFF">
                <a:shade val="95000"/>
                <a:alpha val="50000"/>
                <a:satMod val="1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76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SD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EB332BA-8472-4210-8E3B-180CA2F665E2}"/>
              </a:ext>
            </a:extLst>
          </p:cNvPr>
          <p:cNvCxnSpPr>
            <a:cxnSpLocks/>
            <a:stCxn id="10" idx="3"/>
            <a:endCxn id="12" idx="1"/>
          </p:cNvCxnSpPr>
          <p:nvPr/>
        </p:nvCxnSpPr>
        <p:spPr>
          <a:xfrm>
            <a:off x="8103339" y="6101713"/>
            <a:ext cx="709447" cy="162727"/>
          </a:xfrm>
          <a:prstGeom prst="line">
            <a:avLst/>
          </a:prstGeom>
          <a:noFill/>
          <a:ln w="9525" cap="flat" cmpd="sng" algn="ctr">
            <a:solidFill>
              <a:srgbClr val="0078D4"/>
            </a:solidFill>
            <a:prstDash val="solid"/>
          </a:ln>
          <a:effectLst/>
        </p:spPr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0BF55A9-0F54-45CC-A22C-FB0F5A82EE05}"/>
              </a:ext>
            </a:extLst>
          </p:cNvPr>
          <p:cNvCxnSpPr>
            <a:cxnSpLocks/>
            <a:stCxn id="11" idx="3"/>
            <a:endCxn id="12" idx="1"/>
          </p:cNvCxnSpPr>
          <p:nvPr/>
        </p:nvCxnSpPr>
        <p:spPr>
          <a:xfrm>
            <a:off x="8812786" y="6101712"/>
            <a:ext cx="0" cy="162728"/>
          </a:xfrm>
          <a:prstGeom prst="line">
            <a:avLst/>
          </a:prstGeom>
          <a:noFill/>
          <a:ln w="9525" cap="flat" cmpd="sng" algn="ctr">
            <a:solidFill>
              <a:srgbClr val="0078D4"/>
            </a:solidFill>
            <a:prstDash val="solid"/>
          </a:ln>
          <a:effectLst/>
        </p:spPr>
      </p:cxnSp>
      <p:sp>
        <p:nvSpPr>
          <p:cNvPr id="15" name="Flowchart: Magnetic Disk 14">
            <a:extLst>
              <a:ext uri="{FF2B5EF4-FFF2-40B4-BE49-F238E27FC236}">
                <a16:creationId xmlns:a16="http://schemas.microsoft.com/office/drawing/2014/main" id="{1866AE48-5404-46BA-8F14-02C73A639014}"/>
              </a:ext>
            </a:extLst>
          </p:cNvPr>
          <p:cNvSpPr/>
          <p:nvPr/>
        </p:nvSpPr>
        <p:spPr>
          <a:xfrm>
            <a:off x="9178218" y="5686505"/>
            <a:ext cx="660520" cy="415208"/>
          </a:xfrm>
          <a:prstGeom prst="flowChartMagneticDisk">
            <a:avLst/>
          </a:prstGeom>
          <a:solidFill>
            <a:srgbClr val="737373"/>
          </a:solidFill>
          <a:ln w="17145" cap="flat" cmpd="sng" algn="ctr">
            <a:solidFill>
              <a:srgbClr val="FFFFFF">
                <a:shade val="95000"/>
                <a:alpha val="50000"/>
                <a:satMod val="1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76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HDD</a:t>
            </a:r>
          </a:p>
        </p:txBody>
      </p:sp>
      <p:sp>
        <p:nvSpPr>
          <p:cNvPr id="16" name="Flowchart: Magnetic Disk 15">
            <a:extLst>
              <a:ext uri="{FF2B5EF4-FFF2-40B4-BE49-F238E27FC236}">
                <a16:creationId xmlns:a16="http://schemas.microsoft.com/office/drawing/2014/main" id="{D1DF71F6-7E68-4636-BB2F-DCF2B36F77B3}"/>
              </a:ext>
            </a:extLst>
          </p:cNvPr>
          <p:cNvSpPr/>
          <p:nvPr/>
        </p:nvSpPr>
        <p:spPr>
          <a:xfrm>
            <a:off x="9949811" y="5686504"/>
            <a:ext cx="660520" cy="415208"/>
          </a:xfrm>
          <a:prstGeom prst="flowChartMagneticDisk">
            <a:avLst/>
          </a:prstGeom>
          <a:solidFill>
            <a:srgbClr val="737373"/>
          </a:solidFill>
          <a:ln w="17145" cap="flat" cmpd="sng" algn="ctr">
            <a:solidFill>
              <a:srgbClr val="FFFFFF">
                <a:shade val="95000"/>
                <a:alpha val="50000"/>
                <a:satMod val="1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76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HDD</a:t>
            </a:r>
          </a:p>
        </p:txBody>
      </p:sp>
      <p:sp>
        <p:nvSpPr>
          <p:cNvPr id="17" name="Flowchart: Magnetic Disk 16">
            <a:extLst>
              <a:ext uri="{FF2B5EF4-FFF2-40B4-BE49-F238E27FC236}">
                <a16:creationId xmlns:a16="http://schemas.microsoft.com/office/drawing/2014/main" id="{F685687A-8D22-4B25-ABE6-DCF2582F9116}"/>
              </a:ext>
            </a:extLst>
          </p:cNvPr>
          <p:cNvSpPr/>
          <p:nvPr/>
        </p:nvSpPr>
        <p:spPr>
          <a:xfrm>
            <a:off x="10658494" y="6264440"/>
            <a:ext cx="660520" cy="415208"/>
          </a:xfrm>
          <a:prstGeom prst="flowChartMagneticDisk">
            <a:avLst/>
          </a:prstGeom>
          <a:solidFill>
            <a:srgbClr val="0078D4"/>
          </a:solidFill>
          <a:ln w="17145" cap="flat" cmpd="sng" algn="ctr">
            <a:solidFill>
              <a:srgbClr val="FFFFFF">
                <a:shade val="95000"/>
                <a:alpha val="50000"/>
                <a:satMod val="1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76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SD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CF0E337-13F5-48F0-9229-7D2AB971A9DF}"/>
              </a:ext>
            </a:extLst>
          </p:cNvPr>
          <p:cNvCxnSpPr>
            <a:cxnSpLocks/>
            <a:stCxn id="15" idx="3"/>
            <a:endCxn id="12" idx="1"/>
          </p:cNvCxnSpPr>
          <p:nvPr/>
        </p:nvCxnSpPr>
        <p:spPr>
          <a:xfrm flipH="1">
            <a:off x="8812786" y="6101713"/>
            <a:ext cx="695692" cy="162727"/>
          </a:xfrm>
          <a:prstGeom prst="line">
            <a:avLst/>
          </a:prstGeom>
          <a:noFill/>
          <a:ln w="9525" cap="flat" cmpd="sng" algn="ctr">
            <a:solidFill>
              <a:srgbClr val="0078D4"/>
            </a:solidFill>
            <a:prstDash val="solid"/>
          </a:ln>
          <a:effectLst/>
        </p:spPr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356AFE6-E84E-4A82-969F-367DFDF64D24}"/>
              </a:ext>
            </a:extLst>
          </p:cNvPr>
          <p:cNvCxnSpPr>
            <a:cxnSpLocks/>
            <a:stCxn id="16" idx="3"/>
            <a:endCxn id="17" idx="1"/>
          </p:cNvCxnSpPr>
          <p:nvPr/>
        </p:nvCxnSpPr>
        <p:spPr>
          <a:xfrm>
            <a:off x="10280071" y="6101712"/>
            <a:ext cx="708683" cy="162728"/>
          </a:xfrm>
          <a:prstGeom prst="line">
            <a:avLst/>
          </a:prstGeom>
          <a:noFill/>
          <a:ln w="9525" cap="flat" cmpd="sng" algn="ctr">
            <a:solidFill>
              <a:srgbClr val="0078D4"/>
            </a:solidFill>
            <a:prstDash val="solid"/>
          </a:ln>
          <a:effectLst/>
        </p:spPr>
      </p:cxnSp>
      <p:sp>
        <p:nvSpPr>
          <p:cNvPr id="20" name="Flowchart: Magnetic Disk 19">
            <a:extLst>
              <a:ext uri="{FF2B5EF4-FFF2-40B4-BE49-F238E27FC236}">
                <a16:creationId xmlns:a16="http://schemas.microsoft.com/office/drawing/2014/main" id="{A6A4E310-2129-4C0D-86C1-E458ACE88862}"/>
              </a:ext>
            </a:extLst>
          </p:cNvPr>
          <p:cNvSpPr/>
          <p:nvPr/>
        </p:nvSpPr>
        <p:spPr>
          <a:xfrm>
            <a:off x="10658494" y="5686505"/>
            <a:ext cx="660520" cy="415208"/>
          </a:xfrm>
          <a:prstGeom prst="flowChartMagneticDisk">
            <a:avLst/>
          </a:prstGeom>
          <a:solidFill>
            <a:srgbClr val="737373"/>
          </a:solidFill>
          <a:ln w="17145" cap="flat" cmpd="sng" algn="ctr">
            <a:solidFill>
              <a:srgbClr val="FFFFFF">
                <a:shade val="95000"/>
                <a:alpha val="50000"/>
                <a:satMod val="1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76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HDD</a:t>
            </a:r>
          </a:p>
        </p:txBody>
      </p:sp>
      <p:sp>
        <p:nvSpPr>
          <p:cNvPr id="21" name="Flowchart: Magnetic Disk 20">
            <a:extLst>
              <a:ext uri="{FF2B5EF4-FFF2-40B4-BE49-F238E27FC236}">
                <a16:creationId xmlns:a16="http://schemas.microsoft.com/office/drawing/2014/main" id="{586FDDAC-82BE-4AD5-8EAA-8D69657E4D6E}"/>
              </a:ext>
            </a:extLst>
          </p:cNvPr>
          <p:cNvSpPr/>
          <p:nvPr/>
        </p:nvSpPr>
        <p:spPr>
          <a:xfrm>
            <a:off x="11367941" y="5686504"/>
            <a:ext cx="660520" cy="415208"/>
          </a:xfrm>
          <a:prstGeom prst="flowChartMagneticDisk">
            <a:avLst/>
          </a:prstGeom>
          <a:solidFill>
            <a:srgbClr val="737373"/>
          </a:solidFill>
          <a:ln w="17145" cap="flat" cmpd="sng" algn="ctr">
            <a:solidFill>
              <a:srgbClr val="FFFFFF">
                <a:shade val="95000"/>
                <a:alpha val="50000"/>
                <a:satMod val="1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76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HDD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27D3B52B-8E62-4AE7-83C4-82621779286D}"/>
              </a:ext>
            </a:extLst>
          </p:cNvPr>
          <p:cNvCxnSpPr>
            <a:cxnSpLocks/>
            <a:stCxn id="20" idx="3"/>
            <a:endCxn id="17" idx="1"/>
          </p:cNvCxnSpPr>
          <p:nvPr/>
        </p:nvCxnSpPr>
        <p:spPr>
          <a:xfrm>
            <a:off x="10988754" y="6101713"/>
            <a:ext cx="0" cy="162727"/>
          </a:xfrm>
          <a:prstGeom prst="line">
            <a:avLst/>
          </a:prstGeom>
          <a:noFill/>
          <a:ln w="9525" cap="flat" cmpd="sng" algn="ctr">
            <a:solidFill>
              <a:srgbClr val="0078D4"/>
            </a:solidFill>
            <a:prstDash val="solid"/>
          </a:ln>
          <a:effectLst/>
        </p:spPr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D978820D-A507-4764-BA4E-7297444F5464}"/>
              </a:ext>
            </a:extLst>
          </p:cNvPr>
          <p:cNvCxnSpPr>
            <a:cxnSpLocks/>
            <a:stCxn id="21" idx="3"/>
            <a:endCxn id="17" idx="1"/>
          </p:cNvCxnSpPr>
          <p:nvPr/>
        </p:nvCxnSpPr>
        <p:spPr>
          <a:xfrm flipH="1">
            <a:off x="10988754" y="6101712"/>
            <a:ext cx="709447" cy="162728"/>
          </a:xfrm>
          <a:prstGeom prst="line">
            <a:avLst/>
          </a:prstGeom>
          <a:noFill/>
          <a:ln w="9525" cap="flat" cmpd="sng" algn="ctr">
            <a:solidFill>
              <a:srgbClr val="0078D4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6154714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  <p:bldP spid="15" grpId="0" animBg="1"/>
      <p:bldP spid="16" grpId="0" animBg="1"/>
      <p:bldP spid="17" grpId="0" animBg="1"/>
      <p:bldP spid="20" grpId="0" animBg="1"/>
      <p:bldP spid="21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A16B391-36DA-4FD3-95E3-C45E98AE47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/>
              <a:t>Sponsor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CDC1E90-4388-4F8B-B1DC-2DC6C03548A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26BC707-0610-47CC-A6BE-C945356FD3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2057" y="1785952"/>
            <a:ext cx="10387886" cy="4083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23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err="1"/>
              <a:t>MetaCache</a:t>
            </a:r>
            <a:r>
              <a:rPr lang="de-DE" dirty="0"/>
              <a:t> Databas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199" y="1520890"/>
            <a:ext cx="8181513" cy="4853277"/>
          </a:xfrm>
        </p:spPr>
        <p:txBody>
          <a:bodyPr>
            <a:normAutofit fontScale="92500" lnSpcReduction="20000"/>
          </a:bodyPr>
          <a:lstStyle/>
          <a:p>
            <a:pPr marL="457200" indent="-457200">
              <a:buFont typeface="+mj-lt"/>
              <a:buAutoNum type="arabicPeriod"/>
            </a:pPr>
            <a:r>
              <a:rPr lang="de-DE" sz="2600" b="1" dirty="0"/>
              <a:t>Datenbank versucht Fail-Over zu anderen Kopie</a:t>
            </a:r>
          </a:p>
          <a:p>
            <a:pPr lvl="1"/>
            <a:r>
              <a:rPr lang="de-DE" sz="2200" dirty="0"/>
              <a:t>Falls ein Fail-Over nicht möglich ist, erfolgt eine Einbindung auf einem Server mit ausgefallener SSD (keine Beschleunigung, </a:t>
            </a:r>
            <a:r>
              <a:rPr lang="de-DE" sz="2200" dirty="0" err="1"/>
              <a:t>Reset</a:t>
            </a:r>
            <a:r>
              <a:rPr lang="de-DE" sz="2200" dirty="0"/>
              <a:t>)</a:t>
            </a:r>
          </a:p>
          <a:p>
            <a:pPr marL="457200" indent="-457200">
              <a:buFont typeface="+mj-lt"/>
              <a:buAutoNum type="arabicPeriod"/>
            </a:pPr>
            <a:r>
              <a:rPr lang="de-DE" sz="2600" b="1" dirty="0"/>
              <a:t>MCDB Health-Status ändert sich zu „Storage Offline“</a:t>
            </a:r>
          </a:p>
          <a:p>
            <a:pPr marL="457200" indent="-457200">
              <a:buFont typeface="+mj-lt"/>
              <a:buAutoNum type="arabicPeriod"/>
            </a:pPr>
            <a:r>
              <a:rPr lang="de-DE" sz="2600" b="1" dirty="0"/>
              <a:t>„Non-Urgent Alert“ für ausgefallener SSD wird ausgelöst</a:t>
            </a:r>
          </a:p>
          <a:p>
            <a:pPr marL="457200" indent="-457200">
              <a:buFont typeface="+mj-lt"/>
              <a:buAutoNum type="arabicPeriod"/>
            </a:pPr>
            <a:r>
              <a:rPr lang="de-DE" sz="2600" b="1" dirty="0"/>
              <a:t>Admin Aktion: Austausch der defekten SSD</a:t>
            </a:r>
          </a:p>
          <a:p>
            <a:pPr lvl="1"/>
            <a:r>
              <a:rPr lang="de-DE" sz="2200" dirty="0"/>
              <a:t>Im Falle einer M.2 SSDs muss eventuell der Server außer Betrieb genommen werden</a:t>
            </a:r>
          </a:p>
          <a:p>
            <a:pPr marL="457200" indent="-457200">
              <a:buFont typeface="+mj-lt"/>
              <a:buAutoNum type="arabicPeriod"/>
            </a:pPr>
            <a:r>
              <a:rPr lang="de-DE" sz="2600" b="1" dirty="0"/>
              <a:t>Admin Aktion: Neuerstellung der Mount Points per PowerShell</a:t>
            </a:r>
          </a:p>
          <a:p>
            <a:pPr marL="534831" lvl="1" indent="0">
              <a:buNone/>
            </a:pPr>
            <a:r>
              <a:rPr lang="de-DE" sz="1500" b="1" dirty="0">
                <a:solidFill>
                  <a:schemeClr val="bg1">
                    <a:lumMod val="50000"/>
                    <a:lumOff val="50000"/>
                  </a:schemeClr>
                </a:solidFill>
                <a:latin typeface="Consolas" panose="020B0609020204030204" pitchFamily="49" charset="0"/>
              </a:rPr>
              <a:t>Manage-MCDB -</a:t>
            </a:r>
            <a:r>
              <a:rPr lang="de-DE" sz="1500" b="1" dirty="0" err="1">
                <a:solidFill>
                  <a:schemeClr val="bg1">
                    <a:lumMod val="50000"/>
                    <a:lumOff val="50000"/>
                  </a:schemeClr>
                </a:solidFill>
                <a:latin typeface="Consolas" panose="020B0609020204030204" pitchFamily="49" charset="0"/>
              </a:rPr>
              <a:t>DagName</a:t>
            </a:r>
            <a:r>
              <a:rPr lang="de-DE" sz="1500" b="1" dirty="0">
                <a:solidFill>
                  <a:schemeClr val="bg1">
                    <a:lumMod val="50000"/>
                    <a:lumOff val="50000"/>
                  </a:schemeClr>
                </a:solidFill>
                <a:latin typeface="Consolas" panose="020B0609020204030204" pitchFamily="49" charset="0"/>
              </a:rPr>
              <a:t> DEDAG -</a:t>
            </a:r>
            <a:r>
              <a:rPr lang="de-DE" sz="1500" b="1" dirty="0" err="1">
                <a:solidFill>
                  <a:schemeClr val="bg1">
                    <a:lumMod val="50000"/>
                    <a:lumOff val="50000"/>
                  </a:schemeClr>
                </a:solidFill>
                <a:latin typeface="Consolas" panose="020B0609020204030204" pitchFamily="49" charset="0"/>
              </a:rPr>
              <a:t>ConfigureMCDBOnServer</a:t>
            </a:r>
            <a:r>
              <a:rPr lang="de-DE" sz="1500" b="1" dirty="0">
                <a:solidFill>
                  <a:schemeClr val="bg1">
                    <a:lumMod val="50000"/>
                    <a:lumOff val="50000"/>
                  </a:schemeClr>
                </a:solidFill>
                <a:latin typeface="Consolas" panose="020B0609020204030204" pitchFamily="49" charset="0"/>
              </a:rPr>
              <a:t> -</a:t>
            </a:r>
            <a:r>
              <a:rPr lang="de-DE" sz="1500" b="1" dirty="0" err="1">
                <a:solidFill>
                  <a:schemeClr val="bg1">
                    <a:lumMod val="50000"/>
                    <a:lumOff val="50000"/>
                  </a:schemeClr>
                </a:solidFill>
                <a:latin typeface="Consolas" panose="020B0609020204030204" pitchFamily="49" charset="0"/>
              </a:rPr>
              <a:t>ServerName</a:t>
            </a:r>
            <a:r>
              <a:rPr lang="de-DE" sz="1500" b="1" dirty="0">
                <a:solidFill>
                  <a:schemeClr val="bg1">
                    <a:lumMod val="50000"/>
                    <a:lumOff val="50000"/>
                  </a:schemeClr>
                </a:solidFill>
                <a:latin typeface="Consolas" panose="020B0609020204030204" pitchFamily="49" charset="0"/>
              </a:rPr>
              <a:t> DEBEREX01 -</a:t>
            </a:r>
            <a:r>
              <a:rPr lang="de-DE" sz="1500" b="1" dirty="0" err="1">
                <a:solidFill>
                  <a:schemeClr val="bg1">
                    <a:lumMod val="50000"/>
                    <a:lumOff val="50000"/>
                  </a:schemeClr>
                </a:solidFill>
                <a:latin typeface="Consolas" panose="020B0609020204030204" pitchFamily="49" charset="0"/>
              </a:rPr>
              <a:t>SSDSizeInBytes</a:t>
            </a:r>
            <a:r>
              <a:rPr lang="de-DE" sz="1500" b="1" dirty="0">
                <a:solidFill>
                  <a:schemeClr val="bg1">
                    <a:lumMod val="50000"/>
                    <a:lumOff val="50000"/>
                  </a:schemeClr>
                </a:solidFill>
                <a:latin typeface="Consolas" panose="020B0609020204030204" pitchFamily="49" charset="0"/>
              </a:rPr>
              <a:t> 5242880000</a:t>
            </a:r>
          </a:p>
          <a:p>
            <a:pPr marL="457200" indent="-457200">
              <a:buFont typeface="+mj-lt"/>
              <a:buAutoNum type="arabicPeriod"/>
            </a:pPr>
            <a:r>
              <a:rPr lang="de-DE" sz="2600" b="1" dirty="0"/>
              <a:t>MCDB </a:t>
            </a:r>
            <a:r>
              <a:rPr lang="de-DE" sz="2600" b="1" dirty="0" err="1"/>
              <a:t>Reseed</a:t>
            </a:r>
            <a:r>
              <a:rPr lang="de-DE" sz="2600" b="1" dirty="0"/>
              <a:t>/Erstellung erfolgt automatisch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SSD Ausfall</a:t>
            </a:r>
          </a:p>
        </p:txBody>
      </p:sp>
      <p:pic>
        <p:nvPicPr>
          <p:cNvPr id="24" name="Graphic 4" descr="High Voltage">
            <a:extLst>
              <a:ext uri="{FF2B5EF4-FFF2-40B4-BE49-F238E27FC236}">
                <a16:creationId xmlns:a16="http://schemas.microsoft.com/office/drawing/2014/main" id="{DA54B05F-6F68-4D20-B2C1-4A19DEB7E4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532010" y="1891613"/>
            <a:ext cx="3074773" cy="3074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2868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err="1"/>
              <a:t>MetaCache</a:t>
            </a:r>
            <a:r>
              <a:rPr lang="de-DE" dirty="0"/>
              <a:t> Database 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520890"/>
            <a:ext cx="8039986" cy="4656073"/>
          </a:xfrm>
        </p:spPr>
        <p:txBody>
          <a:bodyPr>
            <a:normAutofit lnSpcReduction="10000"/>
          </a:bodyPr>
          <a:lstStyle/>
          <a:p>
            <a:r>
              <a:rPr lang="de-DE" sz="2400" b="1" dirty="0"/>
              <a:t>Entwickelt für Database Availability Groups (DAGs)</a:t>
            </a:r>
            <a:r>
              <a:rPr lang="de-DE" sz="2600" b="1" dirty="0"/>
              <a:t> </a:t>
            </a:r>
            <a:r>
              <a:rPr lang="de-DE" sz="2600" dirty="0">
                <a:sym typeface="Wingdings" panose="05000000000000000000" pitchFamily="2" charset="2"/>
              </a:rPr>
              <a:t></a:t>
            </a:r>
            <a:r>
              <a:rPr lang="de-DE" sz="2600" dirty="0"/>
              <a:t> </a:t>
            </a:r>
            <a:r>
              <a:rPr lang="de-DE" sz="2600" i="1" dirty="0"/>
              <a:t>Preferred Architecture</a:t>
            </a:r>
            <a:endParaRPr lang="de-DE" sz="2600" dirty="0"/>
          </a:p>
          <a:p>
            <a:r>
              <a:rPr lang="de-DE" sz="2400" b="1" dirty="0"/>
              <a:t>5% - 6% SSD zu HDD Kapazitätsverhältnis</a:t>
            </a:r>
          </a:p>
          <a:p>
            <a:pPr lvl="1"/>
            <a:r>
              <a:rPr lang="de-DE" sz="2000" dirty="0"/>
              <a:t>Bevorzugter Einsatz von </a:t>
            </a:r>
            <a:r>
              <a:rPr lang="de-DE" sz="2000" i="1" dirty="0"/>
              <a:t>M.2 SSDs, </a:t>
            </a:r>
            <a:r>
              <a:rPr lang="de-DE" sz="2000" dirty="0"/>
              <a:t>um keine HDD-Slots zu belegen</a:t>
            </a:r>
          </a:p>
          <a:p>
            <a:pPr>
              <a:lnSpc>
                <a:spcPct val="100000"/>
              </a:lnSpc>
            </a:pPr>
            <a:r>
              <a:rPr lang="de-DE" sz="2400" b="1" dirty="0"/>
              <a:t>Sicherstellung eines symmetrischen SSD Layouts</a:t>
            </a:r>
          </a:p>
          <a:p>
            <a:pPr lvl="1"/>
            <a:r>
              <a:rPr lang="de-DE" sz="2000" dirty="0"/>
              <a:t>Gleiche Kapazität und Anzahl je Server</a:t>
            </a:r>
          </a:p>
          <a:p>
            <a:pPr>
              <a:lnSpc>
                <a:spcPct val="110000"/>
              </a:lnSpc>
            </a:pPr>
            <a:r>
              <a:rPr lang="de-DE" sz="2400" b="1" dirty="0"/>
              <a:t>1 SSD zu 3 HDD Laufwerksverhältnis</a:t>
            </a:r>
          </a:p>
          <a:p>
            <a:pPr lvl="1"/>
            <a:r>
              <a:rPr lang="de-DE" sz="2000" dirty="0"/>
              <a:t>Reduzierung der SSD Fehlerdomäne</a:t>
            </a:r>
          </a:p>
          <a:p>
            <a:pPr>
              <a:lnSpc>
                <a:spcPct val="120000"/>
              </a:lnSpc>
            </a:pPr>
            <a:r>
              <a:rPr lang="de-DE" sz="2400" b="1" dirty="0"/>
              <a:t>SSD Lebenszeit: „Mixed”-Use SSDs</a:t>
            </a:r>
          </a:p>
          <a:p>
            <a:pPr lvl="1"/>
            <a:r>
              <a:rPr lang="de-DE" sz="2000" dirty="0"/>
              <a:t>&gt;= 1 </a:t>
            </a:r>
            <a:r>
              <a:rPr lang="de-DE" sz="2000" dirty="0" err="1"/>
              <a:t>drive</a:t>
            </a:r>
            <a:r>
              <a:rPr lang="de-DE" sz="2000" dirty="0"/>
              <a:t> </a:t>
            </a:r>
            <a:r>
              <a:rPr lang="de-DE" sz="2000" dirty="0" err="1"/>
              <a:t>writes</a:t>
            </a:r>
            <a:r>
              <a:rPr lang="de-DE" sz="2000" dirty="0"/>
              <a:t> per </a:t>
            </a:r>
            <a:r>
              <a:rPr lang="de-DE" sz="2000" dirty="0" err="1"/>
              <a:t>day</a:t>
            </a:r>
            <a:r>
              <a:rPr lang="de-DE" sz="2000" dirty="0"/>
              <a:t> (DWPD)</a:t>
            </a:r>
          </a:p>
          <a:p>
            <a:pPr lvl="1"/>
            <a:r>
              <a:rPr lang="de-DE" sz="2000" dirty="0"/>
              <a:t>z.B. 960GB SSD @ 1DWPD ermöglicht bis zu 960GB Schreibzugriffe/Tag über die gesamte Garantielaufzeit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Empfehlungen</a:t>
            </a:r>
          </a:p>
        </p:txBody>
      </p:sp>
      <p:pic>
        <p:nvPicPr>
          <p:cNvPr id="5" name="Graphic 4" descr="Checklist">
            <a:extLst>
              <a:ext uri="{FF2B5EF4-FFF2-40B4-BE49-F238E27FC236}">
                <a16:creationId xmlns:a16="http://schemas.microsoft.com/office/drawing/2014/main" id="{04D6A49E-4FD9-4DFC-869B-97500FD3DB8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68255" y="2356945"/>
            <a:ext cx="2550686" cy="2550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330787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Frag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2000" b="1" kern="0" dirty="0"/>
              <a:t>Thomas Stensitzki</a:t>
            </a:r>
          </a:p>
          <a:p>
            <a:pPr marL="0" indent="0">
              <a:buNone/>
            </a:pPr>
            <a:r>
              <a:rPr lang="de-DE" sz="2000" kern="0" dirty="0"/>
              <a:t>Enterprise Consultant</a:t>
            </a:r>
            <a:br>
              <a:rPr lang="de-DE" sz="2000" kern="0" dirty="0"/>
            </a:br>
            <a:r>
              <a:rPr lang="de-DE" sz="2000" kern="0" dirty="0"/>
              <a:t>Granikos GmbH &amp; Co. KG</a:t>
            </a:r>
            <a:br>
              <a:rPr lang="de-DE" sz="2000" kern="0" dirty="0"/>
            </a:br>
            <a:br>
              <a:rPr lang="de-DE" sz="2000" kern="0" dirty="0"/>
            </a:br>
            <a:r>
              <a:rPr lang="de-DE" sz="2000" kern="0" dirty="0"/>
              <a:t>MVP | MCT | MCSM</a:t>
            </a:r>
          </a:p>
          <a:p>
            <a:pPr marL="0" indent="0">
              <a:buNone/>
            </a:pPr>
            <a:r>
              <a:rPr lang="de-DE" sz="2000" kern="0" dirty="0"/>
              <a:t>@</a:t>
            </a:r>
            <a:r>
              <a:rPr lang="de-DE" sz="2000" kern="0" dirty="0" err="1"/>
              <a:t>stensitzki</a:t>
            </a:r>
            <a:r>
              <a:rPr lang="de-DE" sz="2000" kern="0" dirty="0"/>
              <a:t> </a:t>
            </a:r>
          </a:p>
          <a:p>
            <a:pPr marL="0" indent="0">
              <a:buNone/>
            </a:pPr>
            <a:r>
              <a:rPr lang="de-DE" sz="2000" kern="0" dirty="0">
                <a:hlinkClick r:id="rId3"/>
              </a:rPr>
              <a:t>http://www.stensitzki.de</a:t>
            </a:r>
            <a:r>
              <a:rPr lang="de-DE" sz="2000" kern="0" dirty="0"/>
              <a:t> </a:t>
            </a:r>
          </a:p>
          <a:p>
            <a:pPr marL="0" indent="0">
              <a:buNone/>
            </a:pPr>
            <a:endParaRPr lang="de-DE" sz="2000" kern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852" y="2056797"/>
            <a:ext cx="3108047" cy="2744405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7" name="Grafik 6" descr="Ein Bild, das Himmel enthält.&#10;&#10;Mit hoher Zuverlässigkeit generierte Beschreibung">
            <a:extLst>
              <a:ext uri="{FF2B5EF4-FFF2-40B4-BE49-F238E27FC236}">
                <a16:creationId xmlns:a16="http://schemas.microsoft.com/office/drawing/2014/main" id="{537E3E12-FDDE-4E28-A806-6B41B7F3D8A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4556" y="3989770"/>
            <a:ext cx="1726913" cy="696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448088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8DFF3C50-4326-4090-9563-39166FAE16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/>
              <a:t>Exchange Server 2019 Migration </a:t>
            </a:r>
            <a:endParaRPr lang="de-DE" sz="320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D5FCE5E-BE6E-4AAA-BFE2-CADDE02D47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3459624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F4E8168C-86D8-4764-974B-139AA23372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/>
              <a:t>Anforderungen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1BEA58E-DFFC-4110-AFCE-5D2631A90CD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20890"/>
            <a:ext cx="11240386" cy="4656073"/>
          </a:xfrm>
        </p:spPr>
        <p:txBody>
          <a:bodyPr>
            <a:normAutofit fontScale="92500"/>
          </a:bodyPr>
          <a:lstStyle/>
          <a:p>
            <a:r>
              <a:rPr lang="de-DE" sz="2600" b="1" dirty="0"/>
              <a:t>Exchange Server 2019 unterstützt die Koexistenz mit</a:t>
            </a:r>
          </a:p>
          <a:p>
            <a:pPr lvl="1"/>
            <a:r>
              <a:rPr lang="de-DE" sz="2200" dirty="0"/>
              <a:t>Exchange 2013 CU21 und neuer, auf allen Servern in der Exchange Organisation (</a:t>
            </a:r>
            <a:r>
              <a:rPr lang="de-DE" sz="2200" i="1" dirty="0"/>
              <a:t>inkl. Edge</a:t>
            </a:r>
            <a:r>
              <a:rPr lang="de-DE" sz="2200" dirty="0"/>
              <a:t>) </a:t>
            </a:r>
          </a:p>
          <a:p>
            <a:pPr lvl="1"/>
            <a:r>
              <a:rPr lang="de-DE" sz="2200" dirty="0"/>
              <a:t>Exchange 2016 CU11 und neuer, auf allen Servern in der Exchange Organisation (</a:t>
            </a:r>
            <a:r>
              <a:rPr lang="de-DE" sz="2200" i="1" dirty="0"/>
              <a:t>inkl. Edge</a:t>
            </a:r>
            <a:r>
              <a:rPr lang="de-DE" sz="2200" dirty="0"/>
              <a:t>) </a:t>
            </a:r>
          </a:p>
          <a:p>
            <a:r>
              <a:rPr lang="de-DE" sz="2600" b="1" dirty="0"/>
              <a:t>Exchange Server 2019 erfordert</a:t>
            </a:r>
          </a:p>
          <a:p>
            <a:pPr lvl="1"/>
            <a:r>
              <a:rPr lang="de-DE" sz="2200" dirty="0"/>
              <a:t>Windows Server 2012R2 FFL/DFL oder höher</a:t>
            </a:r>
          </a:p>
          <a:p>
            <a:pPr lvl="1"/>
            <a:r>
              <a:rPr lang="de-DE" sz="2200" dirty="0"/>
              <a:t>Windows </a:t>
            </a:r>
            <a:r>
              <a:rPr lang="de-DE" sz="2200"/>
              <a:t>Server 2012R2 </a:t>
            </a:r>
            <a:r>
              <a:rPr lang="de-DE" sz="2200" dirty="0"/>
              <a:t>oder neuer, Global Catalog Servers in jeder Active Directory Site, in der Exchange installiert wird</a:t>
            </a:r>
          </a:p>
          <a:p>
            <a:r>
              <a:rPr lang="de-DE" sz="2600" b="1" dirty="0"/>
              <a:t>Unterstützte Outlook Clients</a:t>
            </a:r>
          </a:p>
          <a:p>
            <a:pPr lvl="1"/>
            <a:r>
              <a:rPr lang="de-DE" sz="2200" dirty="0"/>
              <a:t>Outlook 2019</a:t>
            </a:r>
          </a:p>
          <a:p>
            <a:pPr lvl="1"/>
            <a:r>
              <a:rPr lang="de-DE" sz="2200" dirty="0"/>
              <a:t>Outlook 2016</a:t>
            </a:r>
          </a:p>
          <a:p>
            <a:pPr lvl="1"/>
            <a:r>
              <a:rPr lang="de-DE" sz="2200" dirty="0"/>
              <a:t>Outlook 2016 für Mac</a:t>
            </a:r>
          </a:p>
          <a:p>
            <a:pPr lvl="1"/>
            <a:r>
              <a:rPr lang="de-DE" sz="2200" dirty="0"/>
              <a:t>Outlook 2013</a:t>
            </a:r>
          </a:p>
          <a:p>
            <a:pPr lvl="1"/>
            <a:r>
              <a:rPr lang="de-DE" sz="2200" dirty="0"/>
              <a:t>Outlook für Mac für Office 365</a:t>
            </a:r>
          </a:p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3543927-97F9-4ACA-A09F-405445E1E29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Infrastruktur und Exchange Organisation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8132999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F4E8168C-86D8-4764-974B-139AA23372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/>
              <a:t>Anforderungen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1BEA58E-DFFC-4110-AFCE-5D2631A90CD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272415" indent="-272415"/>
            <a:r>
              <a:rPr lang="de-DE" sz="2400" b="1" dirty="0"/>
              <a:t>Exchange Server 2019 ist unterstützt auf</a:t>
            </a:r>
          </a:p>
          <a:p>
            <a:pPr marL="807720" lvl="1" indent="-272415"/>
            <a:r>
              <a:rPr lang="de-DE" sz="2000" dirty="0"/>
              <a:t>Windows Server 2019 Standard / Data Center</a:t>
            </a:r>
            <a:endParaRPr lang="de-DE" sz="2000" dirty="0">
              <a:cs typeface="Calibri Light" panose="020F0302020204030204" pitchFamily="34" charset="0"/>
            </a:endParaRPr>
          </a:p>
          <a:p>
            <a:pPr marL="807720" lvl="1" indent="-272415"/>
            <a:r>
              <a:rPr lang="de-DE" sz="2000" dirty="0"/>
              <a:t>Windows Server 2019 Core</a:t>
            </a:r>
            <a:endParaRPr lang="de-DE" sz="2000" dirty="0">
              <a:cs typeface="Calibri Light" panose="020F0302020204030204" pitchFamily="34" charset="0"/>
            </a:endParaRPr>
          </a:p>
          <a:p>
            <a:pPr marL="272415" indent="-272415"/>
            <a:r>
              <a:rPr lang="de-DE" sz="2400" b="1" dirty="0"/>
              <a:t>Exchange Server 2019 erfordert</a:t>
            </a:r>
          </a:p>
          <a:p>
            <a:pPr marL="807720" lvl="1" indent="-272415"/>
            <a:r>
              <a:rPr lang="de-DE" sz="2000" dirty="0"/>
              <a:t>.NET Framework 4.7.2 (aktuelle Dokumentation beachten)</a:t>
            </a:r>
          </a:p>
          <a:p>
            <a:pPr marL="807720" lvl="1" indent="-272415"/>
            <a:r>
              <a:rPr lang="de-DE" sz="2000" dirty="0"/>
              <a:t>Visual C++ </a:t>
            </a:r>
            <a:r>
              <a:rPr lang="de-DE" sz="2000" dirty="0" err="1"/>
              <a:t>Redistributable</a:t>
            </a:r>
            <a:r>
              <a:rPr lang="de-DE" sz="2000" dirty="0"/>
              <a:t> Package </a:t>
            </a:r>
            <a:r>
              <a:rPr lang="de-DE" sz="2000" dirty="0" err="1"/>
              <a:t>for</a:t>
            </a:r>
            <a:r>
              <a:rPr lang="de-DE" sz="2000" dirty="0"/>
              <a:t> Visual Studio 2012</a:t>
            </a:r>
          </a:p>
          <a:p>
            <a:pPr marL="807720" lvl="1" indent="-272415"/>
            <a:r>
              <a:rPr lang="de-DE" sz="2000" dirty="0"/>
              <a:t>Visual C++ </a:t>
            </a:r>
            <a:r>
              <a:rPr lang="de-DE" sz="2000" dirty="0" err="1"/>
              <a:t>Redistributable</a:t>
            </a:r>
            <a:r>
              <a:rPr lang="de-DE" sz="2000" dirty="0"/>
              <a:t> Package </a:t>
            </a:r>
            <a:r>
              <a:rPr lang="de-DE" sz="2000" dirty="0" err="1"/>
              <a:t>for</a:t>
            </a:r>
            <a:r>
              <a:rPr lang="de-DE" sz="2000" dirty="0"/>
              <a:t> Visual Studio 2013</a:t>
            </a:r>
          </a:p>
          <a:p>
            <a:pPr marL="807720" lvl="1" indent="-272415"/>
            <a:r>
              <a:rPr lang="de-DE" sz="2000" dirty="0"/>
              <a:t>Unified Communications Managed API (UCMA) 4.0 (von Exchange ISO)</a:t>
            </a:r>
          </a:p>
          <a:p>
            <a:pPr marL="272415" indent="-272415"/>
            <a:r>
              <a:rPr lang="de-DE" sz="2400" b="1" dirty="0"/>
              <a:t>Office Online Server</a:t>
            </a:r>
          </a:p>
          <a:p>
            <a:pPr marL="585153" lvl="1" indent="-272415"/>
            <a:r>
              <a:rPr lang="de-DE" sz="2000" dirty="0"/>
              <a:t>Installiert auf separaten Servern, zur Darstellung und Bearbeitung von Anhängen in Outlook on the Web</a:t>
            </a:r>
          </a:p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3543927-97F9-4ACA-A09F-405445E1E29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/>
              <a:t>Betriebssyste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5976663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7557B84-7964-4E8C-99E8-869B536745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/>
              <a:t>Exchange Server 2013 / 2016 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2E5BAEE-3E2D-4A96-9FB8-4368335D08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2400" b="1" dirty="0"/>
              <a:t>Gleiche Erfahrung wie bei Exchange 2013 + Exchange 2016</a:t>
            </a:r>
            <a:br>
              <a:rPr lang="de-DE" sz="2400" b="1" dirty="0"/>
            </a:br>
            <a:endParaRPr lang="de-DE" sz="2400" b="1" dirty="0"/>
          </a:p>
          <a:p>
            <a:r>
              <a:rPr lang="de-DE" sz="2400" b="1" dirty="0"/>
              <a:t>Kein Legacy Namespace erforderlich</a:t>
            </a:r>
            <a:br>
              <a:rPr lang="de-DE" sz="2400" b="1" dirty="0"/>
            </a:br>
            <a:endParaRPr lang="de-DE" sz="2400" b="1" dirty="0"/>
          </a:p>
          <a:p>
            <a:r>
              <a:rPr lang="de-DE" sz="2400" b="1" dirty="0"/>
              <a:t>Proxy-Verbindungen von Exchange 2013/2016 kann zu Exchange 2019</a:t>
            </a:r>
            <a:br>
              <a:rPr lang="de-DE" sz="2400" b="1" dirty="0"/>
            </a:br>
            <a:r>
              <a:rPr lang="de-DE" sz="2400" b="1" dirty="0">
                <a:sym typeface="Wingdings" panose="05000000000000000000" pitchFamily="2" charset="2"/>
              </a:rPr>
              <a:t> </a:t>
            </a:r>
            <a:r>
              <a:rPr lang="de-DE" sz="2400" b="1" i="1" dirty="0">
                <a:sym typeface="Wingdings" panose="05000000000000000000" pitchFamily="2" charset="2"/>
              </a:rPr>
              <a:t>Up-Proxy</a:t>
            </a:r>
            <a:br>
              <a:rPr lang="de-DE" sz="2400" b="1" dirty="0">
                <a:sym typeface="Wingdings" panose="05000000000000000000" pitchFamily="2" charset="2"/>
              </a:rPr>
            </a:br>
            <a:endParaRPr lang="de-DE" sz="2400" b="1" dirty="0">
              <a:sym typeface="Wingdings" panose="05000000000000000000" pitchFamily="2" charset="2"/>
            </a:endParaRPr>
          </a:p>
          <a:p>
            <a:r>
              <a:rPr lang="de-DE" sz="2400" b="1" dirty="0"/>
              <a:t>Proxy-Verbindungen von Exchange 2019 zu Exchange 2013 / 2016 </a:t>
            </a:r>
            <a:br>
              <a:rPr lang="de-DE" sz="2400" b="1" dirty="0"/>
            </a:br>
            <a:r>
              <a:rPr lang="de-DE" sz="2400" b="1" dirty="0">
                <a:sym typeface="Wingdings" panose="05000000000000000000" pitchFamily="2" charset="2"/>
              </a:rPr>
              <a:t> </a:t>
            </a:r>
            <a:r>
              <a:rPr lang="de-DE" sz="2400" b="1" i="1" dirty="0">
                <a:sym typeface="Wingdings" panose="05000000000000000000" pitchFamily="2" charset="2"/>
              </a:rPr>
              <a:t>Down-Proxy</a:t>
            </a:r>
            <a:endParaRPr lang="de-DE" sz="2400" b="1" i="1" dirty="0"/>
          </a:p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B5F7625-39B3-42C6-A622-9F45CF6A4AE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/>
              <a:t>Koexistenz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4429469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B44876A-D8F8-4F3E-BB4D-D6A45D3598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/>
              <a:t>Exchange Server 2019 Koexistenz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8580189-4D05-4205-B50C-7CECD16F015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 marL="272415" indent="-272415"/>
            <a:r>
              <a:rPr lang="de-DE" dirty="0"/>
              <a:t>Vorbereitung der Infrastruktur (Service Packs, CUs, DFL/FFL, Schema, AD, Domains)</a:t>
            </a:r>
          </a:p>
          <a:p>
            <a:pPr marL="272415" indent="-272415"/>
            <a:r>
              <a:rPr lang="de-DE" dirty="0"/>
              <a:t>Installation von Exchange Server 2019</a:t>
            </a:r>
            <a:endParaRPr lang="de-DE" dirty="0">
              <a:cs typeface="Calibri Light" panose="020F0302020204030204" pitchFamily="34" charset="0"/>
            </a:endParaRPr>
          </a:p>
          <a:p>
            <a:pPr marL="272415" indent="-272415"/>
            <a:r>
              <a:rPr lang="de-DE" dirty="0"/>
              <a:t>Konfiguration der Exchange 2019 Server URLs analog zu Exchange 2013/2016</a:t>
            </a:r>
            <a:endParaRPr lang="de-DE" dirty="0">
              <a:cs typeface="Calibri Light" panose="020F0302020204030204" pitchFamily="34" charset="0"/>
            </a:endParaRPr>
          </a:p>
          <a:p>
            <a:pPr marL="272415" indent="-272415"/>
            <a:r>
              <a:rPr lang="de-DE" dirty="0"/>
              <a:t>Import der TLS-Zertifikate auf Exchange 2019 Server</a:t>
            </a:r>
            <a:endParaRPr lang="de-DE" dirty="0">
              <a:cs typeface="Calibri Light" panose="020F0302020204030204" pitchFamily="34" charset="0"/>
            </a:endParaRPr>
          </a:p>
          <a:p>
            <a:pPr marL="272415" indent="-272415"/>
            <a:r>
              <a:rPr lang="de-DE" dirty="0"/>
              <a:t>Konfiguration der DAGs</a:t>
            </a:r>
            <a:endParaRPr lang="de-DE" dirty="0">
              <a:cs typeface="Calibri Light" panose="020F0302020204030204" pitchFamily="34" charset="0"/>
            </a:endParaRPr>
          </a:p>
          <a:p>
            <a:pPr marL="272415" indent="-272415"/>
            <a:r>
              <a:rPr lang="de-DE" dirty="0"/>
              <a:t>Verschieben der Postfächer</a:t>
            </a:r>
            <a:endParaRPr lang="de-DE" dirty="0">
              <a:cs typeface="Calibri Light" panose="020F0302020204030204" pitchFamily="34" charset="0"/>
            </a:endParaRPr>
          </a:p>
          <a:p>
            <a:pPr marL="272415" indent="-272415"/>
            <a:r>
              <a:rPr lang="de-DE" dirty="0"/>
              <a:t>Wiederholung für alle AD-Sites mit Zugriff aus dem Internet, anschließend für alle internen AD-Sites</a:t>
            </a:r>
            <a:endParaRPr lang="de-DE" dirty="0">
              <a:cs typeface="Calibri Light" panose="020F0302020204030204" pitchFamily="34" charset="0"/>
            </a:endParaRPr>
          </a:p>
          <a:p>
            <a:pPr marL="272415" indent="-272415"/>
            <a:r>
              <a:rPr lang="de-DE" dirty="0"/>
              <a:t>Schwenk des eingehenden Nachrichtenflusses zu Exchange 2019 sobald sinnvoll (&gt;50% Postfächer verschoben) </a:t>
            </a:r>
          </a:p>
          <a:p>
            <a:pPr marL="0" indent="0">
              <a:buNone/>
            </a:pPr>
            <a:r>
              <a:rPr lang="de-DE" dirty="0">
                <a:sym typeface="Wingdings" panose="05000000000000000000" pitchFamily="2" charset="2"/>
              </a:rPr>
              <a:t> Umstellung des Load Balancer Namensraumes </a:t>
            </a:r>
            <a:r>
              <a:rPr lang="de-DE" dirty="0"/>
              <a:t>von 2013/2016 zu 2019</a:t>
            </a:r>
          </a:p>
          <a:p>
            <a:pPr marL="807720" lvl="1" indent="-272415"/>
            <a:r>
              <a:rPr lang="de-DE" dirty="0"/>
              <a:t>Empfehlung: Graduelles Inbetriebnehmen von Exchange 2019 im LB-Pool</a:t>
            </a:r>
            <a:endParaRPr lang="de-DE" dirty="0">
              <a:cs typeface="Calibri Light" panose="020F0302020204030204" pitchFamily="34" charset="0"/>
            </a:endParaRPr>
          </a:p>
          <a:p>
            <a:pPr marL="807720" lvl="1" indent="-272415"/>
            <a:r>
              <a:rPr lang="de-DE" dirty="0"/>
              <a:t>Unterstütz: </a:t>
            </a:r>
            <a:r>
              <a:rPr lang="de-DE" dirty="0" err="1"/>
              <a:t>Cutover</a:t>
            </a:r>
            <a:r>
              <a:rPr lang="de-DE" dirty="0"/>
              <a:t> zu Exchange Server 2019 in einem Schritt</a:t>
            </a:r>
            <a:endParaRPr lang="de-DE" dirty="0">
              <a:cs typeface="Calibri Light" panose="020F0302020204030204" pitchFamily="34" charset="0"/>
            </a:endParaRPr>
          </a:p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0A5B977-E1C4-40BB-A647-64DB6D6089C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4682675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E7C46E8-08BA-473F-927D-A8D89EF278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MAPI </a:t>
            </a:r>
            <a:r>
              <a:rPr lang="de-DE" dirty="0" err="1"/>
              <a:t>over</a:t>
            </a:r>
            <a:r>
              <a:rPr lang="de-DE" dirty="0"/>
              <a:t> HTTP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07F14A2-830C-404D-AA4E-EA014C52075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de-DE" dirty="0"/>
              <a:t>Szenario: Eine Exchange 2013/2016 Organisation mit deaktiviertem </a:t>
            </a:r>
            <a:r>
              <a:rPr lang="de-DE" dirty="0" err="1"/>
              <a:t>with</a:t>
            </a:r>
            <a:r>
              <a:rPr lang="de-DE" dirty="0"/>
              <a:t> MAPI </a:t>
            </a:r>
            <a:r>
              <a:rPr lang="de-DE" dirty="0" err="1"/>
              <a:t>over</a:t>
            </a:r>
            <a:r>
              <a:rPr lang="de-DE" dirty="0"/>
              <a:t> HTTP </a:t>
            </a:r>
            <a:r>
              <a:rPr lang="de-DE" dirty="0" err="1"/>
              <a:t>mirgriert</a:t>
            </a:r>
            <a:r>
              <a:rPr lang="de-DE" dirty="0"/>
              <a:t> zu Exchange 2019</a:t>
            </a:r>
          </a:p>
          <a:p>
            <a:pPr marL="0" indent="0">
              <a:buNone/>
            </a:pPr>
            <a:r>
              <a:rPr lang="de-DE" dirty="0">
                <a:sym typeface="Wingdings" panose="05000000000000000000" pitchFamily="2" charset="2"/>
              </a:rPr>
              <a:t> Ziel</a:t>
            </a:r>
            <a:r>
              <a:rPr lang="de-DE" dirty="0"/>
              <a:t>: Aktvierung von </a:t>
            </a:r>
            <a:r>
              <a:rPr lang="de-DE" dirty="0" err="1"/>
              <a:t>MAPIoverHTTP</a:t>
            </a:r>
            <a:r>
              <a:rPr lang="de-DE" dirty="0"/>
              <a:t> nur für Postfächer, die zu Exchange 2019 verschoben wurden</a:t>
            </a:r>
          </a:p>
          <a:p>
            <a:pPr marL="457200" indent="-457200">
              <a:buFont typeface="+mj-lt"/>
              <a:buAutoNum type="arabicPeriod"/>
            </a:pPr>
            <a:r>
              <a:rPr lang="de-DE" sz="2600" dirty="0"/>
              <a:t>Einstellung </a:t>
            </a:r>
            <a:r>
              <a:rPr lang="de-DE" sz="2600" i="1" dirty="0" err="1"/>
              <a:t>MapiHttpEnabled</a:t>
            </a:r>
            <a:r>
              <a:rPr lang="de-DE" sz="2600" i="1" dirty="0"/>
              <a:t> </a:t>
            </a:r>
            <a:r>
              <a:rPr lang="de-DE" sz="2600" dirty="0"/>
              <a:t>auf Organisationseben bleibt </a:t>
            </a:r>
            <a:r>
              <a:rPr lang="de-DE" sz="2600" i="1" dirty="0"/>
              <a:t>$</a:t>
            </a:r>
            <a:r>
              <a:rPr lang="de-DE" sz="2600" i="1" dirty="0" err="1"/>
              <a:t>False</a:t>
            </a:r>
            <a:endParaRPr lang="de-DE" sz="2600" i="1" dirty="0"/>
          </a:p>
          <a:p>
            <a:pPr marL="457200" indent="-457200">
              <a:buFont typeface="+mj-lt"/>
              <a:buAutoNum type="arabicPeriod"/>
            </a:pPr>
            <a:r>
              <a:rPr lang="de-DE" dirty="0"/>
              <a:t>Vor dem Verschieben der 2013/2016 Postfächer wird mit </a:t>
            </a:r>
            <a:r>
              <a:rPr lang="de-DE" i="1" dirty="0"/>
              <a:t>Set-</a:t>
            </a:r>
            <a:r>
              <a:rPr lang="de-DE" i="1" dirty="0" err="1"/>
              <a:t>CasMailbox</a:t>
            </a:r>
            <a:r>
              <a:rPr lang="de-DE" dirty="0"/>
              <a:t> aus der Exchange 2019 EMS </a:t>
            </a:r>
            <a:r>
              <a:rPr lang="de-DE" i="1" dirty="0" err="1"/>
              <a:t>MapiHttpEnabled</a:t>
            </a:r>
            <a:r>
              <a:rPr lang="de-DE" i="1" dirty="0"/>
              <a:t> </a:t>
            </a:r>
            <a:r>
              <a:rPr lang="de-DE" dirty="0"/>
              <a:t>auf </a:t>
            </a:r>
            <a:r>
              <a:rPr lang="de-DE" i="1" dirty="0"/>
              <a:t>$True</a:t>
            </a:r>
            <a:r>
              <a:rPr lang="de-DE" b="1" dirty="0"/>
              <a:t> </a:t>
            </a:r>
            <a:r>
              <a:rPr lang="de-DE" dirty="0"/>
              <a:t>konfiguriert</a:t>
            </a:r>
          </a:p>
          <a:p>
            <a:pPr marL="457200" indent="-457200">
              <a:buFont typeface="+mj-lt"/>
              <a:buAutoNum type="arabicPeriod"/>
            </a:pPr>
            <a:r>
              <a:rPr lang="de-DE" dirty="0"/>
              <a:t>Verschieben der Postfächer zu Exchange 2019</a:t>
            </a:r>
          </a:p>
          <a:p>
            <a:pPr marL="457200" indent="-457200">
              <a:buFont typeface="+mj-lt"/>
              <a:buAutoNum type="arabicPeriod"/>
            </a:pPr>
            <a:r>
              <a:rPr lang="de-DE" dirty="0"/>
              <a:t>Nach dem Verschieben aller Postfächer zu 2019 wird </a:t>
            </a:r>
            <a:r>
              <a:rPr lang="de-DE" i="1" dirty="0" err="1"/>
              <a:t>MapiHttpEnabled</a:t>
            </a:r>
            <a:r>
              <a:rPr lang="de-DE" dirty="0"/>
              <a:t> auf Organisationseben auf </a:t>
            </a:r>
            <a:r>
              <a:rPr lang="de-DE" i="1" dirty="0"/>
              <a:t>$True</a:t>
            </a:r>
            <a:r>
              <a:rPr lang="de-DE" b="1" dirty="0"/>
              <a:t> </a:t>
            </a:r>
            <a:r>
              <a:rPr lang="de-DE" dirty="0"/>
              <a:t>konfiguriert</a:t>
            </a:r>
          </a:p>
          <a:p>
            <a:pPr marL="457200" indent="-457200">
              <a:buFont typeface="+mj-lt"/>
              <a:buAutoNum type="arabicPeriod"/>
            </a:pPr>
            <a:r>
              <a:rPr lang="de-DE" dirty="0"/>
              <a:t>Für alle 2019 Postfächer wird mit </a:t>
            </a:r>
            <a:r>
              <a:rPr lang="de-DE" i="1" dirty="0"/>
              <a:t>Set-</a:t>
            </a:r>
            <a:r>
              <a:rPr lang="de-DE" i="1" dirty="0" err="1"/>
              <a:t>CasMailbox</a:t>
            </a:r>
            <a:r>
              <a:rPr lang="de-DE" dirty="0"/>
              <a:t> das Attribute </a:t>
            </a:r>
            <a:r>
              <a:rPr lang="de-DE" i="1" dirty="0" err="1"/>
              <a:t>MapiHttpEnabled</a:t>
            </a:r>
            <a:r>
              <a:rPr lang="de-DE" dirty="0"/>
              <a:t> auf </a:t>
            </a:r>
            <a:r>
              <a:rPr lang="de-DE" i="1" dirty="0"/>
              <a:t>$Null</a:t>
            </a:r>
            <a:r>
              <a:rPr lang="de-DE" b="1" dirty="0"/>
              <a:t> </a:t>
            </a:r>
            <a:r>
              <a:rPr lang="de-DE" dirty="0"/>
              <a:t>konfiguriert, um die Organisationseinstellungen zu erben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Vergessen Sie nicht die </a:t>
            </a:r>
            <a:r>
              <a:rPr lang="de-DE" i="1" dirty="0"/>
              <a:t>Arbitration</a:t>
            </a:r>
            <a:r>
              <a:rPr lang="de-DE" dirty="0"/>
              <a:t> und </a:t>
            </a:r>
            <a:r>
              <a:rPr lang="de-DE" i="1" dirty="0"/>
              <a:t>Public Folder </a:t>
            </a:r>
            <a:r>
              <a:rPr lang="de-DE" dirty="0"/>
              <a:t>Postfächer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C0D1E11-FA37-40D6-9BFB-5237104DA6C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5989923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97F6622-98C7-4F70-8DFC-DC9218D763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System-Postfächer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FD72DDF-88A9-4311-B841-AAB5B5F54E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b="1" dirty="0" err="1"/>
              <a:t>Verschieben</a:t>
            </a:r>
            <a:r>
              <a:rPr lang="en-US" sz="2400" b="1" dirty="0"/>
              <a:t> der System-</a:t>
            </a:r>
            <a:r>
              <a:rPr lang="en-US" sz="2400" b="1" dirty="0" err="1"/>
              <a:t>Postfächer</a:t>
            </a:r>
            <a:r>
              <a:rPr lang="en-US" sz="2400" b="1" dirty="0"/>
              <a:t> von 2013/2016 </a:t>
            </a:r>
            <a:r>
              <a:rPr lang="en-US" sz="2400" b="1" dirty="0" err="1"/>
              <a:t>zu</a:t>
            </a:r>
            <a:r>
              <a:rPr lang="en-US" sz="2400" b="1" dirty="0"/>
              <a:t> 2019</a:t>
            </a:r>
          </a:p>
          <a:p>
            <a:pPr lvl="1"/>
            <a:r>
              <a:rPr lang="en-US" dirty="0"/>
              <a:t>SystemMailbox{1f05a927-d5d7-47a6-b498-f5266abdf909}</a:t>
            </a:r>
          </a:p>
          <a:p>
            <a:pPr lvl="1"/>
            <a:r>
              <a:rPr lang="en-US" dirty="0"/>
              <a:t>SystemMailbox{bb558c35-97f1-4cb9-8ff7-d53741dc928c}</a:t>
            </a:r>
          </a:p>
          <a:p>
            <a:pPr lvl="1"/>
            <a:r>
              <a:rPr lang="en-US" dirty="0"/>
              <a:t>SystemMailbox{e0dc1c29-89c3-4034-b678-e6c29d823ed9}</a:t>
            </a:r>
          </a:p>
          <a:p>
            <a:pPr lvl="1"/>
            <a:r>
              <a:rPr lang="en-US" dirty="0"/>
              <a:t>SystemMailbox{D0E409A0-AF9B-4720-92FE-AAC869B0D201}</a:t>
            </a:r>
          </a:p>
          <a:p>
            <a:pPr lvl="1"/>
            <a:r>
              <a:rPr lang="en-US" dirty="0"/>
              <a:t>SystemMailbox{2CE34405-31BE-455D-89D7-A7C7DA7A0DAA}</a:t>
            </a:r>
          </a:p>
          <a:p>
            <a:pPr lvl="1"/>
            <a:r>
              <a:rPr lang="en-US" dirty="0"/>
              <a:t>FederatedEmail.4c1f4d8b-8179-4148-93bf-00a95fa1e042</a:t>
            </a:r>
          </a:p>
          <a:p>
            <a:pPr lvl="1"/>
            <a:r>
              <a:rPr lang="en-US" dirty="0"/>
              <a:t>Migration.8f3e7716-2011-43e4-96b1-aba62d229136</a:t>
            </a:r>
          </a:p>
          <a:p>
            <a:pPr lvl="1"/>
            <a:r>
              <a:rPr lang="en-US" dirty="0"/>
              <a:t>DiscoverySearchMailbox {D919BA05-46A6-415f-80AD-7E09334BB852}</a:t>
            </a:r>
          </a:p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EABDF8C-BFDC-4B58-8316-015151E4C8A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873723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B61AEE5-2048-412D-9310-CB7BD44DAF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/>
              <a:t>Agenda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1F1ABE0-AC4E-4F90-B3A3-E5B6ACA97D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/>
              <a:t>Exchange Server 2019 MetaCache Database und BigFunnel</a:t>
            </a:r>
          </a:p>
          <a:p>
            <a:r>
              <a:rPr lang="de-DE"/>
              <a:t>Exchange Security Modell Shared-/Split-Permission</a:t>
            </a:r>
          </a:p>
          <a:p>
            <a:r>
              <a:rPr lang="de-DE"/>
              <a:t>Migrationswege zu Exchange Server 2019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CE104C8-E25F-4F57-A2CC-91D8E92E352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821474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D1E8AB-75DE-4796-A772-404B2AF1A0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Migration Modern Public Folder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F298FCD-C00F-4DC6-BAE9-5E2A229F1D0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Exchange Server 2013/2019 zu 2019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AB7E718-BF62-4DE0-9296-C469A9AC82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04139" y="3873327"/>
            <a:ext cx="819136" cy="1045103"/>
          </a:xfrm>
          <a:prstGeom prst="rect">
            <a:avLst/>
          </a:prstGeom>
        </p:spPr>
      </p:pic>
      <p:sp>
        <p:nvSpPr>
          <p:cNvPr id="6" name="TextBox 54">
            <a:extLst>
              <a:ext uri="{FF2B5EF4-FFF2-40B4-BE49-F238E27FC236}">
                <a16:creationId xmlns:a16="http://schemas.microsoft.com/office/drawing/2014/main" id="{F9F5E7E9-8474-4A1E-AE05-65D2CD7E7A69}"/>
              </a:ext>
            </a:extLst>
          </p:cNvPr>
          <p:cNvSpPr txBox="1"/>
          <p:nvPr/>
        </p:nvSpPr>
        <p:spPr>
          <a:xfrm>
            <a:off x="2179637" y="2849451"/>
            <a:ext cx="2519112" cy="84946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 defTabSz="914400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000" dirty="0">
                <a:latin typeface="Arial" charset="0"/>
              </a:rPr>
              <a:t>Exchange 2013/2016</a:t>
            </a:r>
          </a:p>
        </p:txBody>
      </p:sp>
      <p:sp>
        <p:nvSpPr>
          <p:cNvPr id="7" name="TextBox 57">
            <a:extLst>
              <a:ext uri="{FF2B5EF4-FFF2-40B4-BE49-F238E27FC236}">
                <a16:creationId xmlns:a16="http://schemas.microsoft.com/office/drawing/2014/main" id="{008B1113-1C85-4F5F-9737-1A5CDE5EB6AD}"/>
              </a:ext>
            </a:extLst>
          </p:cNvPr>
          <p:cNvSpPr txBox="1"/>
          <p:nvPr/>
        </p:nvSpPr>
        <p:spPr>
          <a:xfrm>
            <a:off x="7279252" y="2849451"/>
            <a:ext cx="3256325" cy="5724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 defTabSz="914400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000" dirty="0">
                <a:latin typeface="Arial" charset="0"/>
              </a:rPr>
              <a:t>Exchange 2019</a:t>
            </a:r>
          </a:p>
        </p:txBody>
      </p:sp>
      <p:pic>
        <p:nvPicPr>
          <p:cNvPr id="8" name="Picture 10">
            <a:extLst>
              <a:ext uri="{FF2B5EF4-FFF2-40B4-BE49-F238E27FC236}">
                <a16:creationId xmlns:a16="http://schemas.microsoft.com/office/drawing/2014/main" id="{6191F2A9-33C0-4AC8-B9AB-69B4A58C12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36837" y="3593755"/>
            <a:ext cx="1772876" cy="1837530"/>
          </a:xfrm>
          <a:prstGeom prst="rect">
            <a:avLst/>
          </a:prstGeom>
        </p:spPr>
      </p:pic>
      <p:pic>
        <p:nvPicPr>
          <p:cNvPr id="9" name="Picture 12">
            <a:extLst>
              <a:ext uri="{FF2B5EF4-FFF2-40B4-BE49-F238E27FC236}">
                <a16:creationId xmlns:a16="http://schemas.microsoft.com/office/drawing/2014/main" id="{25639242-9687-4295-BE5F-F7F9AC5CC8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73785" y="3593755"/>
            <a:ext cx="1772876" cy="1837530"/>
          </a:xfrm>
          <a:prstGeom prst="rect">
            <a:avLst/>
          </a:prstGeom>
        </p:spPr>
      </p:pic>
      <p:sp>
        <p:nvSpPr>
          <p:cNvPr id="10" name="Pfeil nach rechts 8">
            <a:extLst>
              <a:ext uri="{FF2B5EF4-FFF2-40B4-BE49-F238E27FC236}">
                <a16:creationId xmlns:a16="http://schemas.microsoft.com/office/drawing/2014/main" id="{CF95394A-2061-4326-B6F3-389D871D6F85}"/>
              </a:ext>
            </a:extLst>
          </p:cNvPr>
          <p:cNvSpPr/>
          <p:nvPr/>
        </p:nvSpPr>
        <p:spPr bwMode="auto">
          <a:xfrm>
            <a:off x="5596756" y="3873327"/>
            <a:ext cx="1682496" cy="1024128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0061B2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07658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42" presetClass="path" presetSubtype="0" repeatCount="indefinite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78223E-7 -1.18929E-6 L 0.47 -0.00999 " pathEditMode="relative" rAng="0" ptsTypes="AA">
                                      <p:cBhvr>
                                        <p:cTn id="9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3500" y="-49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Frag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2000" b="1" kern="0" dirty="0"/>
              <a:t>Thomas Stensitzki</a:t>
            </a:r>
          </a:p>
          <a:p>
            <a:pPr marL="0" indent="0">
              <a:buNone/>
            </a:pPr>
            <a:r>
              <a:rPr lang="de-DE" sz="2000" kern="0" dirty="0"/>
              <a:t>Enterprise Consultant</a:t>
            </a:r>
            <a:br>
              <a:rPr lang="de-DE" sz="2000" kern="0" dirty="0"/>
            </a:br>
            <a:r>
              <a:rPr lang="de-DE" sz="2000" kern="0" dirty="0"/>
              <a:t>Granikos GmbH &amp; Co. KG</a:t>
            </a:r>
            <a:br>
              <a:rPr lang="de-DE" sz="2000" kern="0" dirty="0"/>
            </a:br>
            <a:br>
              <a:rPr lang="de-DE" sz="2000" kern="0" dirty="0"/>
            </a:br>
            <a:r>
              <a:rPr lang="de-DE" sz="2000" kern="0" dirty="0"/>
              <a:t>MVP | MCT | MCSM</a:t>
            </a:r>
          </a:p>
          <a:p>
            <a:pPr marL="0" indent="0">
              <a:buNone/>
            </a:pPr>
            <a:r>
              <a:rPr lang="de-DE" sz="2000" kern="0" dirty="0"/>
              <a:t>@</a:t>
            </a:r>
            <a:r>
              <a:rPr lang="de-DE" sz="2000" kern="0" dirty="0" err="1"/>
              <a:t>stensitzki</a:t>
            </a:r>
            <a:r>
              <a:rPr lang="de-DE" sz="2000" kern="0" dirty="0"/>
              <a:t> </a:t>
            </a:r>
          </a:p>
          <a:p>
            <a:pPr marL="0" indent="0">
              <a:buNone/>
            </a:pPr>
            <a:r>
              <a:rPr lang="de-DE" sz="2000" kern="0" dirty="0">
                <a:hlinkClick r:id="rId3"/>
              </a:rPr>
              <a:t>http://www.stensitzki.de</a:t>
            </a:r>
            <a:r>
              <a:rPr lang="de-DE" sz="2000" kern="0" dirty="0"/>
              <a:t> </a:t>
            </a:r>
          </a:p>
          <a:p>
            <a:pPr marL="0" indent="0">
              <a:buNone/>
            </a:pPr>
            <a:endParaRPr lang="de-DE" sz="2000" kern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852" y="2056797"/>
            <a:ext cx="3108047" cy="2744405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7" name="Grafik 6" descr="Ein Bild, das Himmel enthält.&#10;&#10;Mit hoher Zuverlässigkeit generierte Beschreibung">
            <a:extLst>
              <a:ext uri="{FF2B5EF4-FFF2-40B4-BE49-F238E27FC236}">
                <a16:creationId xmlns:a16="http://schemas.microsoft.com/office/drawing/2014/main" id="{537E3E12-FDDE-4E28-A806-6B41B7F3D8A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4556" y="3989770"/>
            <a:ext cx="1726913" cy="696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51651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7BA3357F-020A-45B8-B458-830AF2948D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/>
              <a:t>The REAL Exchange Experience</a:t>
            </a:r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4E95E7AF-4650-4584-BB61-CF8017F63C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88840" y="1133640"/>
            <a:ext cx="8014321" cy="4973173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DA87809A-2B26-449A-B3AA-5104844FA68C}"/>
              </a:ext>
            </a:extLst>
          </p:cNvPr>
          <p:cNvSpPr txBox="1"/>
          <p:nvPr/>
        </p:nvSpPr>
        <p:spPr>
          <a:xfrm>
            <a:off x="0" y="6213540"/>
            <a:ext cx="12192000" cy="646331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de-DE" sz="3600" b="1" dirty="0">
                <a:solidFill>
                  <a:schemeClr val="tx1">
                    <a:lumMod val="95000"/>
                  </a:schemeClr>
                </a:solidFill>
                <a:hlinkClick r:id="rId4"/>
              </a:rPr>
              <a:t>https://go.granikos.eu/ExchangeExperience</a:t>
            </a:r>
            <a:r>
              <a:rPr lang="de-DE" sz="3600" b="1" dirty="0">
                <a:solidFill>
                  <a:schemeClr val="tx1">
                    <a:lumMod val="95000"/>
                  </a:schemeClr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333043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4D916E7-766B-4E0B-9454-B7F1ADAB02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Ressourc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655AA805-1CE0-400B-A070-A09DAF42527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4D1189F-A3C3-4333-B4C3-9ACDF063857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/>
              <a:t>Link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4836983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520890"/>
            <a:ext cx="5257800" cy="465607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kern="0" dirty="0"/>
              <a:t>Thomas Stensitzki</a:t>
            </a:r>
          </a:p>
          <a:p>
            <a:pPr marL="0" indent="0">
              <a:buNone/>
            </a:pPr>
            <a:r>
              <a:rPr lang="de-DE" sz="2000" kern="0" dirty="0"/>
              <a:t>Enterprise Consultant</a:t>
            </a:r>
            <a:br>
              <a:rPr lang="de-DE" sz="2000" kern="0" dirty="0"/>
            </a:br>
            <a:r>
              <a:rPr lang="de-DE" sz="2000" kern="0" dirty="0"/>
              <a:t>Granikos GmbH &amp; Co. KG</a:t>
            </a:r>
            <a:br>
              <a:rPr lang="de-DE" sz="2000" kern="0" dirty="0"/>
            </a:br>
            <a:br>
              <a:rPr lang="de-DE" sz="2000" kern="0" dirty="0"/>
            </a:br>
            <a:r>
              <a:rPr lang="de-DE" sz="2000" kern="0" dirty="0"/>
              <a:t>MVP | MCT | MCSM</a:t>
            </a:r>
            <a:br>
              <a:rPr lang="de-DE" sz="2000" kern="0" dirty="0"/>
            </a:br>
            <a:br>
              <a:rPr lang="de-DE" sz="2000" kern="0" dirty="0"/>
            </a:br>
            <a:br>
              <a:rPr lang="de-DE" sz="2000" kern="0" dirty="0"/>
            </a:br>
            <a:br>
              <a:rPr lang="de-DE" sz="2000" kern="0" dirty="0"/>
            </a:br>
            <a:br>
              <a:rPr lang="de-DE" sz="2000" kern="0" dirty="0"/>
            </a:br>
            <a:br>
              <a:rPr lang="de-DE" sz="2000" kern="0" dirty="0"/>
            </a:br>
            <a:r>
              <a:rPr lang="de-DE" sz="2000" kern="0" dirty="0"/>
              <a:t>@</a:t>
            </a:r>
            <a:r>
              <a:rPr lang="de-DE" sz="2000" kern="0" dirty="0" err="1"/>
              <a:t>stensitzki</a:t>
            </a:r>
            <a:br>
              <a:rPr lang="de-DE" sz="2000" kern="0" dirty="0"/>
            </a:br>
            <a:r>
              <a:rPr lang="de-DE" sz="2000" kern="0" dirty="0">
                <a:hlinkClick r:id="rId3"/>
              </a:rPr>
              <a:t>thomas.stensitzki@granikos.eu</a:t>
            </a:r>
            <a:r>
              <a:rPr lang="de-DE" sz="2000" kern="0" dirty="0"/>
              <a:t> 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6" name="Grafik 5" descr="Ein Bild, das Himmel enthält.&#10;&#10;Mit hoher Zuverlässigkeit generierte Beschreibung">
            <a:extLst>
              <a:ext uri="{FF2B5EF4-FFF2-40B4-BE49-F238E27FC236}">
                <a16:creationId xmlns:a16="http://schemas.microsoft.com/office/drawing/2014/main" id="{21248847-3FF0-4409-9A8D-174E1A14773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1496" y="1520890"/>
            <a:ext cx="1726913" cy="696744"/>
          </a:xfrm>
          <a:prstGeom prst="rect">
            <a:avLst/>
          </a:prstGeom>
        </p:spPr>
      </p:pic>
      <p:pic>
        <p:nvPicPr>
          <p:cNvPr id="7" name="Grafik 6" descr="Ein Bild, das Screenshot, Text enthält.&#10;&#10;Automatisch generierte Beschreibung">
            <a:extLst>
              <a:ext uri="{FF2B5EF4-FFF2-40B4-BE49-F238E27FC236}">
                <a16:creationId xmlns:a16="http://schemas.microsoft.com/office/drawing/2014/main" id="{88F97777-565E-4AA3-9103-8EB7EB31F74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78755" y="1982853"/>
            <a:ext cx="2953747" cy="4194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658517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8DFF3C50-4326-4090-9563-39166FAE16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/>
              <a:t>Exchange Server 2019 MetaCache Database und BigFunnel</a:t>
            </a:r>
            <a:endParaRPr lang="de-DE" sz="320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D5FCE5E-BE6E-4AAA-BFE2-CADDE02D47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Teil 1 - BigFunn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774926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68CFF749-310B-4209-A6F9-A841F771F5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313506" cy="613283"/>
          </a:xfrm>
        </p:spPr>
        <p:txBody>
          <a:bodyPr>
            <a:normAutofit fontScale="90000"/>
          </a:bodyPr>
          <a:lstStyle/>
          <a:p>
            <a:r>
              <a:rPr lang="de-DE"/>
              <a:t>Ziele von BigFunnel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E77F062-0B41-463B-AC26-65F223DBB9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988489"/>
            <a:ext cx="8817429" cy="373775"/>
          </a:xfrm>
        </p:spPr>
        <p:txBody>
          <a:bodyPr/>
          <a:lstStyle/>
          <a:p>
            <a:endParaRPr lang="de-DE" dirty="0"/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54B3A9E3-430E-47A2-9331-76F5EE858C54}"/>
              </a:ext>
            </a:extLst>
          </p:cNvPr>
          <p:cNvGrpSpPr/>
          <p:nvPr/>
        </p:nvGrpSpPr>
        <p:grpSpPr>
          <a:xfrm>
            <a:off x="1080655" y="1999992"/>
            <a:ext cx="5208178" cy="1095128"/>
            <a:chOff x="1080655" y="1999992"/>
            <a:chExt cx="5208178" cy="1095128"/>
          </a:xfrm>
        </p:grpSpPr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AFAB17B4-580C-437A-9A55-97AE734641E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80655" y="1999992"/>
              <a:ext cx="1131632" cy="1095128"/>
            </a:xfrm>
            <a:prstGeom prst="rect">
              <a:avLst/>
            </a:prstGeom>
          </p:spPr>
        </p:pic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53043CD2-092C-4757-956D-63E65546076E}"/>
                </a:ext>
              </a:extLst>
            </p:cNvPr>
            <p:cNvSpPr txBox="1"/>
            <p:nvPr/>
          </p:nvSpPr>
          <p:spPr>
            <a:xfrm>
              <a:off x="2212287" y="2221430"/>
              <a:ext cx="407654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/>
                <a:t>Vereinfachte Systemimplementierung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i="1" dirty="0"/>
                <a:t>2 HA Lösungen</a:t>
              </a:r>
            </a:p>
          </p:txBody>
        </p:sp>
      </p:grp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343D7AD8-4214-48D5-82D2-3B81FA0CDA83}"/>
              </a:ext>
            </a:extLst>
          </p:cNvPr>
          <p:cNvGrpSpPr/>
          <p:nvPr/>
        </p:nvGrpSpPr>
        <p:grpSpPr>
          <a:xfrm>
            <a:off x="1080655" y="4136649"/>
            <a:ext cx="4873338" cy="1033761"/>
            <a:chOff x="1080655" y="4136649"/>
            <a:chExt cx="4873338" cy="1033761"/>
          </a:xfrm>
        </p:grpSpPr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76449023-59A2-4F42-9FF8-B016F0AEFFD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80655" y="4136649"/>
              <a:ext cx="1131632" cy="1033761"/>
            </a:xfrm>
            <a:prstGeom prst="rect">
              <a:avLst/>
            </a:prstGeom>
          </p:spPr>
        </p:pic>
        <p:sp>
          <p:nvSpPr>
            <p:cNvPr id="15" name="Textfeld 14">
              <a:extLst>
                <a:ext uri="{FF2B5EF4-FFF2-40B4-BE49-F238E27FC236}">
                  <a16:creationId xmlns:a16="http://schemas.microsoft.com/office/drawing/2014/main" id="{4665514F-A859-487A-9838-ECEB03F42132}"/>
                </a:ext>
              </a:extLst>
            </p:cNvPr>
            <p:cNvSpPr txBox="1"/>
            <p:nvPr/>
          </p:nvSpPr>
          <p:spPr>
            <a:xfrm>
              <a:off x="2212287" y="4247080"/>
              <a:ext cx="3741706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/>
                <a:t>Reduzierung der Betriebskosten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i="1" dirty="0"/>
                <a:t>Speicherbedarf der Datenbanken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i="1" dirty="0"/>
                <a:t>Mehrfache Indizierung</a:t>
              </a:r>
            </a:p>
          </p:txBody>
        </p: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3071B602-7EF3-4988-A30D-D61CB1A15148}"/>
              </a:ext>
            </a:extLst>
          </p:cNvPr>
          <p:cNvGrpSpPr/>
          <p:nvPr/>
        </p:nvGrpSpPr>
        <p:grpSpPr>
          <a:xfrm>
            <a:off x="6569507" y="1994072"/>
            <a:ext cx="4873339" cy="1101048"/>
            <a:chOff x="6569507" y="1994072"/>
            <a:chExt cx="4873339" cy="1101048"/>
          </a:xfrm>
        </p:grpSpPr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5466727C-60B1-433E-B75C-099D400A4EC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569507" y="1994072"/>
              <a:ext cx="1131633" cy="1101048"/>
            </a:xfrm>
            <a:prstGeom prst="rect">
              <a:avLst/>
            </a:prstGeom>
          </p:spPr>
        </p:pic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1BB8EF91-5E62-4B4F-A844-931B2A6A2545}"/>
                </a:ext>
              </a:extLst>
            </p:cNvPr>
            <p:cNvSpPr txBox="1"/>
            <p:nvPr/>
          </p:nvSpPr>
          <p:spPr>
            <a:xfrm>
              <a:off x="7701140" y="2176591"/>
              <a:ext cx="374170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/>
                <a:t>Leistungssteigerung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i="1" dirty="0"/>
                <a:t>Schwierige Integration von SSDs</a:t>
              </a:r>
            </a:p>
          </p:txBody>
        </p: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75D3FE8D-A729-4466-82F3-3D4EE6E36811}"/>
              </a:ext>
            </a:extLst>
          </p:cNvPr>
          <p:cNvGrpSpPr/>
          <p:nvPr/>
        </p:nvGrpSpPr>
        <p:grpSpPr>
          <a:xfrm>
            <a:off x="6550327" y="4136649"/>
            <a:ext cx="5488853" cy="1101048"/>
            <a:chOff x="6550327" y="4136649"/>
            <a:chExt cx="5488853" cy="1101048"/>
          </a:xfrm>
        </p:grpSpPr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8E8A5F47-CBCF-490D-974C-A55468F933B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550327" y="4136649"/>
              <a:ext cx="1150813" cy="1101048"/>
            </a:xfrm>
            <a:prstGeom prst="rect">
              <a:avLst/>
            </a:prstGeom>
          </p:spPr>
        </p:pic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AC2D8443-81D2-4106-BE97-18FEAA33AD7F}"/>
                </a:ext>
              </a:extLst>
            </p:cNvPr>
            <p:cNvSpPr txBox="1"/>
            <p:nvPr/>
          </p:nvSpPr>
          <p:spPr>
            <a:xfrm>
              <a:off x="7701140" y="4293303"/>
              <a:ext cx="4338040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/>
                <a:t>Zukunftssichere Plattform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de-DE" i="1" dirty="0"/>
                <a:t>Integration neuer Funktionen, basierend auf Suchindex und Daten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227161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Vorteile von BigFunn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Rectangle: Rounded Corners 5">
            <a:extLst>
              <a:ext uri="{FF2B5EF4-FFF2-40B4-BE49-F238E27FC236}">
                <a16:creationId xmlns:a16="http://schemas.microsoft.com/office/drawing/2014/main" id="{90C552DC-66FE-45F6-BC1C-A305A795B23A}"/>
              </a:ext>
            </a:extLst>
          </p:cNvPr>
          <p:cNvSpPr/>
          <p:nvPr/>
        </p:nvSpPr>
        <p:spPr bwMode="auto">
          <a:xfrm>
            <a:off x="904775" y="1896176"/>
            <a:ext cx="3099334" cy="4706754"/>
          </a:xfrm>
          <a:prstGeom prst="roundRect">
            <a:avLst>
              <a:gd name="adj" fmla="val 7823"/>
            </a:avLst>
          </a:prstGeom>
          <a:solidFill>
            <a:srgbClr val="0078D4"/>
          </a:solidFill>
          <a:ln w="10795" cap="flat" cmpd="sng" algn="ctr">
            <a:solidFill>
              <a:srgbClr val="0078D4">
                <a:shade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0" tIns="46637" rIns="0" bIns="46637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</a:rPr>
              <a:t>Einfach</a:t>
            </a:r>
            <a:r>
              <a:rPr kumimoji="0" lang="de-DE" sz="2800" b="1" i="0" u="none" strike="noStrike" kern="0" cap="none" spc="0" normalizeH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</a:rPr>
              <a:t> </a:t>
            </a:r>
            <a:br>
              <a:rPr kumimoji="0" lang="de-DE" sz="2800" b="1" i="0" u="none" strike="noStrike" kern="0" cap="none" spc="0" normalizeH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</a:rPr>
            </a:br>
            <a:r>
              <a:rPr kumimoji="0" lang="de-DE" sz="2800" b="1" i="0" u="none" strike="noStrike" kern="0" cap="none" spc="0" normalizeH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</a:rPr>
              <a:t>&amp; Schnell</a:t>
            </a:r>
            <a:endParaRPr kumimoji="0" lang="de-DE" sz="2800" b="1" i="0" u="none" strike="noStrike" kern="0" cap="none" spc="0" normalizeH="0" baseline="0" noProof="0" dirty="0">
              <a:ln>
                <a:noFill/>
              </a:ln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bold"/>
            </a:endParaRPr>
          </a:p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</a:endParaRPr>
          </a:p>
          <a:p>
            <a:pPr marL="285750" marR="0" lvl="0" indent="-285750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</a:rPr>
              <a:t>EIN Speicherungs-</a:t>
            </a:r>
            <a:r>
              <a:rPr kumimoji="0" lang="de-DE" sz="1700" b="0" i="0" u="none" strike="noStrike" kern="0" cap="none" spc="0" normalizeH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</a:rPr>
              <a:t> &amp; </a:t>
            </a:r>
            <a:r>
              <a:rPr kumimoji="0" lang="de-DE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</a:rPr>
              <a:t>HA System </a:t>
            </a:r>
            <a:br>
              <a:rPr kumimoji="0" lang="de-DE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</a:rPr>
            </a:br>
            <a:r>
              <a:rPr kumimoji="0" lang="de-DE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</a:rPr>
              <a:t>– (Inhalte + Index)</a:t>
            </a:r>
          </a:p>
          <a:p>
            <a:pPr marL="285750" marR="0" lvl="0" indent="-285750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700" b="0" i="0" u="none" strike="noStrike" kern="0" cap="none" spc="0" normalizeH="0" baseline="0" noProof="0" dirty="0">
              <a:ln>
                <a:noFill/>
              </a:ln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</a:endParaRPr>
          </a:p>
          <a:p>
            <a:pPr marL="285750" marR="0" lvl="0" indent="-285750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700" kern="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"/>
              </a:rPr>
              <a:t>Wiederherstellung bei Datenkorruption durch seitenbasierte Prüfsummen</a:t>
            </a:r>
            <a:endParaRPr kumimoji="0" lang="de-DE" sz="1700" b="0" i="0" u="none" strike="noStrike" kern="0" cap="none" spc="0" normalizeH="0" baseline="0" noProof="0" dirty="0">
              <a:ln>
                <a:noFill/>
              </a:ln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</a:endParaRPr>
          </a:p>
          <a:p>
            <a:pPr marL="285750" marR="0" lvl="0" indent="-285750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700" b="0" i="0" u="none" strike="noStrike" kern="0" cap="none" spc="0" normalizeH="0" baseline="0" noProof="0" dirty="0">
              <a:ln>
                <a:noFill/>
              </a:ln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</a:endParaRPr>
          </a:p>
          <a:p>
            <a:pPr marL="285750" marR="0" lvl="0" indent="-285750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</a:rPr>
              <a:t>SSD für Metadaten = 50% schneller</a:t>
            </a:r>
            <a:r>
              <a:rPr lang="de-DE" sz="1700" kern="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"/>
              </a:rPr>
              <a:t>e Suchanfragen</a:t>
            </a:r>
            <a:endParaRPr kumimoji="0" lang="de-DE" sz="1700" b="0" i="0" u="none" strike="noStrike" kern="0" cap="none" spc="0" normalizeH="0" baseline="0" noProof="0" dirty="0">
              <a:ln>
                <a:noFill/>
              </a:ln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</a:endParaRPr>
          </a:p>
        </p:txBody>
      </p:sp>
      <p:sp>
        <p:nvSpPr>
          <p:cNvPr id="6" name="Rectangle: Rounded Corners 6">
            <a:extLst>
              <a:ext uri="{FF2B5EF4-FFF2-40B4-BE49-F238E27FC236}">
                <a16:creationId xmlns:a16="http://schemas.microsoft.com/office/drawing/2014/main" id="{4FD8AAAD-B130-4BF0-A786-B466E0825BE1}"/>
              </a:ext>
            </a:extLst>
          </p:cNvPr>
          <p:cNvSpPr/>
          <p:nvPr/>
        </p:nvSpPr>
        <p:spPr bwMode="auto">
          <a:xfrm>
            <a:off x="4618523" y="1896176"/>
            <a:ext cx="3099334" cy="4706754"/>
          </a:xfrm>
          <a:prstGeom prst="roundRect">
            <a:avLst>
              <a:gd name="adj" fmla="val 7823"/>
            </a:avLst>
          </a:prstGeom>
          <a:solidFill>
            <a:srgbClr val="002050"/>
          </a:solidFill>
          <a:ln w="10795" cap="flat" cmpd="sng" algn="ctr">
            <a:solidFill>
              <a:srgbClr val="002050">
                <a:shade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0" tIns="46637" rIns="0" bIns="46637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2800" b="1" kern="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 Semibold"/>
              </a:rPr>
              <a:t>Niedrigere Kosten</a:t>
            </a:r>
            <a:r>
              <a:rPr kumimoji="0" lang="de-DE" sz="28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</a:rPr>
              <a:t> (EXO)</a:t>
            </a:r>
          </a:p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</a:endParaRPr>
          </a:p>
          <a:p>
            <a:pPr marL="285750" marR="0" lvl="0" indent="-285750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</a:rPr>
              <a:t>Reduzierung</a:t>
            </a:r>
            <a:r>
              <a:rPr kumimoji="0" lang="de-DE" sz="1700" b="0" i="0" u="none" strike="noStrike" kern="0" cap="none" spc="0" normalizeH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</a:rPr>
              <a:t> der </a:t>
            </a:r>
            <a:r>
              <a:rPr kumimoji="0" lang="de-DE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</a:rPr>
              <a:t>CPU Nutzung – Index </a:t>
            </a:r>
            <a:r>
              <a:rPr lang="de-DE" sz="1700" kern="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"/>
              </a:rPr>
              <a:t>wird nur einmal erstellt und repliziert</a:t>
            </a:r>
            <a:endParaRPr kumimoji="0" lang="de-DE" sz="1700" b="0" i="0" u="none" strike="noStrike" kern="0" cap="none" spc="0" normalizeH="0" baseline="0" noProof="0" dirty="0">
              <a:ln>
                <a:noFill/>
              </a:ln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</a:endParaRPr>
          </a:p>
          <a:p>
            <a:pPr marL="285750" marR="0" lvl="0" indent="-285750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700" b="0" i="0" u="none" strike="noStrike" kern="0" cap="none" spc="0" normalizeH="0" baseline="0" noProof="0" dirty="0">
              <a:ln>
                <a:noFill/>
              </a:ln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</a:endParaRPr>
          </a:p>
          <a:p>
            <a:pPr marL="285750" marR="0" lvl="0" indent="-285750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</a:rPr>
              <a:t>Reduzierung</a:t>
            </a:r>
            <a:r>
              <a:rPr kumimoji="0" lang="de-DE" sz="1700" b="0" i="0" u="none" strike="noStrike" kern="0" cap="none" spc="0" normalizeH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</a:rPr>
              <a:t> der Speichernutzung – </a:t>
            </a:r>
            <a:r>
              <a:rPr lang="de-DE" sz="1700" kern="0" dirty="0"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"/>
              </a:rPr>
              <a:t>Wiederverwendung des Speichers von inaktiven Postfächern</a:t>
            </a:r>
            <a:endParaRPr kumimoji="0" lang="de-DE" sz="1700" b="0" i="0" u="none" strike="noStrike" kern="0" cap="none" spc="0" normalizeH="0" baseline="0" noProof="0" dirty="0">
              <a:ln>
                <a:noFill/>
              </a:ln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</a:endParaRPr>
          </a:p>
          <a:p>
            <a:pPr marL="285750" marR="0" lvl="0" indent="-285750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700" b="0" i="0" u="none" strike="noStrike" kern="0" cap="none" spc="0" normalizeH="0" baseline="0" noProof="0" dirty="0">
              <a:ln>
                <a:noFill/>
              </a:ln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</a:endParaRPr>
          </a:p>
          <a:p>
            <a:pPr marL="285750" marR="0" lvl="0" indent="-285750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</a:rPr>
              <a:t>Identische </a:t>
            </a:r>
            <a:r>
              <a:rPr kumimoji="0" lang="de-DE" sz="1700" b="0" i="0" u="none" strike="noStrike" kern="0" cap="none" spc="0" normalizeH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</a:rPr>
              <a:t>Netzwerklast</a:t>
            </a:r>
            <a:r>
              <a:rPr kumimoji="0" lang="de-DE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</a:rPr>
              <a:t> – Indexreplikation</a:t>
            </a:r>
            <a:r>
              <a:rPr kumimoji="0" lang="de-DE" sz="1700" b="0" i="0" u="none" strike="noStrike" kern="0" cap="none" spc="0" normalizeH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</a:rPr>
              <a:t> und andere Verbesserungen</a:t>
            </a:r>
            <a:endParaRPr kumimoji="0" lang="de-DE" sz="1700" b="0" i="0" u="none" strike="noStrike" kern="0" cap="none" spc="0" normalizeH="0" baseline="0" noProof="0" dirty="0">
              <a:ln>
                <a:noFill/>
              </a:ln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</a:endParaRPr>
          </a:p>
        </p:txBody>
      </p:sp>
      <p:sp>
        <p:nvSpPr>
          <p:cNvPr id="7" name="Rectangle: Rounded Corners 7">
            <a:extLst>
              <a:ext uri="{FF2B5EF4-FFF2-40B4-BE49-F238E27FC236}">
                <a16:creationId xmlns:a16="http://schemas.microsoft.com/office/drawing/2014/main" id="{71881F34-8302-4ABF-A8CB-2BA5A860A190}"/>
              </a:ext>
            </a:extLst>
          </p:cNvPr>
          <p:cNvSpPr/>
          <p:nvPr/>
        </p:nvSpPr>
        <p:spPr bwMode="auto">
          <a:xfrm>
            <a:off x="8332271" y="1896176"/>
            <a:ext cx="3099334" cy="4706754"/>
          </a:xfrm>
          <a:prstGeom prst="roundRect">
            <a:avLst>
              <a:gd name="adj" fmla="val 7823"/>
            </a:avLst>
          </a:prstGeom>
          <a:solidFill>
            <a:srgbClr val="D83B01"/>
          </a:solidFill>
          <a:ln w="10795" cap="flat" cmpd="sng" algn="ctr">
            <a:solidFill>
              <a:srgbClr val="D83B01">
                <a:shade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0" tIns="46637" rIns="0" bIns="46637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  <a:ea typeface="+mn-ea"/>
                <a:cs typeface="+mn-cs"/>
              </a:rPr>
              <a:t>Bing-</a:t>
            </a:r>
            <a:r>
              <a:rPr kumimoji="0" lang="de-DE" sz="2800" b="1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  <a:ea typeface="+mn-ea"/>
                <a:cs typeface="+mn-cs"/>
              </a:rPr>
              <a:t>Powered</a:t>
            </a:r>
            <a:r>
              <a:rPr kumimoji="0" lang="de-DE" sz="280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  <a:ea typeface="+mn-ea"/>
                <a:cs typeface="+mn-cs"/>
              </a:rPr>
              <a:t> Innovation</a:t>
            </a:r>
          </a:p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285750" marR="0" lvl="0" indent="-285750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ro</a:t>
            </a:r>
            <a:r>
              <a:rPr kumimoji="0" lang="de-DE" sz="1700" b="0" i="0" u="none" strike="noStrike" kern="0" cap="none" spc="0" normalizeH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Postfach/Benutzer Verschlüsselung </a:t>
            </a:r>
            <a:br>
              <a:rPr kumimoji="0" lang="de-DE" sz="1700" b="0" i="0" u="none" strike="noStrike" kern="0" cap="none" spc="0" normalizeH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</a:br>
            <a:r>
              <a:rPr kumimoji="0" lang="de-DE" sz="1700" b="0" i="0" u="none" strike="noStrike" kern="0" cap="none" spc="0" normalizeH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– </a:t>
            </a:r>
            <a:r>
              <a:rPr kumimoji="0" lang="de-DE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(Customer Key)</a:t>
            </a:r>
          </a:p>
          <a:p>
            <a:pPr marL="285750" marR="0" lvl="0" indent="-285750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700" b="0" i="0" u="none" strike="noStrike" kern="0" cap="none" spc="0" normalizeH="0" baseline="0" noProof="0" dirty="0">
              <a:ln>
                <a:noFill/>
              </a:ln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285750" marR="0" lvl="0" indent="-285750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mart </a:t>
            </a:r>
            <a:r>
              <a:rPr kumimoji="0" lang="de-DE" sz="1700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aptions</a:t>
            </a:r>
            <a:endParaRPr kumimoji="0" lang="de-DE" sz="1700" b="0" i="0" u="none" strike="noStrike" kern="0" cap="none" spc="0" normalizeH="0" baseline="0" noProof="0" dirty="0">
              <a:ln>
                <a:noFill/>
              </a:ln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285750" marR="0" lvl="0" indent="-285750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700" b="0" i="0" u="none" strike="noStrike" kern="0" cap="none" spc="0" normalizeH="0" baseline="0" noProof="0" dirty="0">
              <a:ln>
                <a:noFill/>
              </a:ln>
              <a:gradFill>
                <a:gsLst>
                  <a:gs pos="40075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285750" marR="0" lvl="0" indent="-285750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Erweitertes Multi-Level Ranking der Suchergebnisse </a:t>
            </a:r>
            <a:br>
              <a:rPr kumimoji="0" lang="de-DE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</a:br>
            <a:r>
              <a:rPr kumimoji="0" lang="de-DE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– (Top </a:t>
            </a:r>
            <a:r>
              <a:rPr kumimoji="0" lang="de-DE" sz="1700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Results</a:t>
            </a:r>
            <a:r>
              <a:rPr kumimoji="0" lang="de-DE" sz="17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40075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1500420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Vorteile von BigFunn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/>
              <a:t>Smart Captions (Exchange Online and Exchange 2019)</a:t>
            </a:r>
          </a:p>
          <a:p>
            <a:endParaRPr lang="de-DE" dirty="0"/>
          </a:p>
        </p:txBody>
      </p:sp>
      <p:pic>
        <p:nvPicPr>
          <p:cNvPr id="8" name="Picture 6" descr="A screenshot of a social media post&#10;&#10;Description generated with very high confidence">
            <a:extLst>
              <a:ext uri="{FF2B5EF4-FFF2-40B4-BE49-F238E27FC236}">
                <a16:creationId xmlns:a16="http://schemas.microsoft.com/office/drawing/2014/main" id="{22661FFA-3A29-4ABC-A02E-DB38D593DFD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444"/>
          <a:stretch/>
        </p:blipFill>
        <p:spPr>
          <a:xfrm>
            <a:off x="5562993" y="1497067"/>
            <a:ext cx="6041917" cy="4482372"/>
          </a:xfrm>
          <a:prstGeom prst="rect">
            <a:avLst/>
          </a:prstGeom>
        </p:spPr>
      </p:pic>
      <p:pic>
        <p:nvPicPr>
          <p:cNvPr id="9" name="Picture 8" descr="A screenshot of a social media post&#10;&#10;Description generated with very high confidence">
            <a:extLst>
              <a:ext uri="{FF2B5EF4-FFF2-40B4-BE49-F238E27FC236}">
                <a16:creationId xmlns:a16="http://schemas.microsoft.com/office/drawing/2014/main" id="{AEC427C6-77FC-4445-8488-C15BED98AD2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390" y="1497067"/>
            <a:ext cx="4459502" cy="4482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10322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Vorteile von BigFunn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5" name="Picture 2" descr="image001">
            <a:extLst>
              <a:ext uri="{FF2B5EF4-FFF2-40B4-BE49-F238E27FC236}">
                <a16:creationId xmlns:a16="http://schemas.microsoft.com/office/drawing/2014/main" id="{7CCFB5B0-AA19-4C6A-ADC2-770C8770205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361"/>
          <a:stretch/>
        </p:blipFill>
        <p:spPr bwMode="auto">
          <a:xfrm>
            <a:off x="5562994" y="1408531"/>
            <a:ext cx="6041916" cy="5462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" descr="image002">
            <a:extLst>
              <a:ext uri="{FF2B5EF4-FFF2-40B4-BE49-F238E27FC236}">
                <a16:creationId xmlns:a16="http://schemas.microsoft.com/office/drawing/2014/main" id="{7F5CF5F2-F4A7-490B-956A-ADC888652F4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8206"/>
          <a:stretch/>
        </p:blipFill>
        <p:spPr bwMode="auto">
          <a:xfrm>
            <a:off x="586390" y="1408530"/>
            <a:ext cx="4010025" cy="54620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325882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XUSG_Master.potx" id="{0D35B7B0-3618-4AFC-B3CB-8A78A225AA27}" vid="{41C24F7B-92B3-47FA-B6C1-09179644D14B}"/>
    </a:ext>
  </a:extLst>
</a:theme>
</file>

<file path=ppt/theme/theme2.xml><?xml version="1.0" encoding="utf-8"?>
<a:theme xmlns:a="http://schemas.openxmlformats.org/drawingml/2006/main" name="1_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XUSG_Master.potx" id="{0D35B7B0-3618-4AFC-B3CB-8A78A225AA27}" vid="{41C24F7B-92B3-47FA-B6C1-09179644D14B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Microsoft Ignite">
    <a:dk1>
      <a:srgbClr val="1A1A1A"/>
    </a:dk1>
    <a:lt1>
      <a:srgbClr val="FFFFFF"/>
    </a:lt1>
    <a:dk2>
      <a:srgbClr val="0D0D0D"/>
    </a:dk2>
    <a:lt2>
      <a:srgbClr val="E6E6E6"/>
    </a:lt2>
    <a:accent1>
      <a:srgbClr val="0078D4"/>
    </a:accent1>
    <a:accent2>
      <a:srgbClr val="002050"/>
    </a:accent2>
    <a:accent3>
      <a:srgbClr val="D83B01"/>
    </a:accent3>
    <a:accent4>
      <a:srgbClr val="F37521"/>
    </a:accent4>
    <a:accent5>
      <a:srgbClr val="737373"/>
    </a:accent5>
    <a:accent6>
      <a:srgbClr val="D2D2D2"/>
    </a:accent6>
    <a:hlink>
      <a:srgbClr val="0078D4"/>
    </a:hlink>
    <a:folHlink>
      <a:srgbClr val="0078D4"/>
    </a:folHlink>
  </a:clrScheme>
  <a:fontScheme name="Segoe UI Semibold - Segoe UI">
    <a:majorFont>
      <a:latin typeface="Segoe UI Semibold"/>
      <a:ea typeface=""/>
      <a:cs typeface=""/>
    </a:majorFont>
    <a:minorFont>
      <a:latin typeface="Segoe UI"/>
      <a:ea typeface=""/>
      <a:cs typeface=""/>
    </a:minorFont>
  </a:fontScheme>
  <a:fmtScheme name="Couture">
    <a:fillStyleLst>
      <a:solidFill>
        <a:schemeClr val="phClr"/>
      </a:solidFill>
      <a:solidFill>
        <a:schemeClr val="phClr">
          <a:tint val="65000"/>
        </a:schemeClr>
      </a:solidFill>
      <a:solidFill>
        <a:schemeClr val="phClr">
          <a:shade val="80000"/>
          <a:satMod val="180000"/>
        </a:schemeClr>
      </a:solidFill>
    </a:fillStyleLst>
    <a:lnStyleLst>
      <a:ln w="9525" cap="flat" cmpd="sng" algn="ctr">
        <a:solidFill>
          <a:schemeClr val="phClr"/>
        </a:solidFill>
        <a:prstDash val="solid"/>
      </a:ln>
      <a:ln w="10795" cap="flat" cmpd="sng" algn="ctr">
        <a:solidFill>
          <a:schemeClr val="phClr"/>
        </a:solidFill>
        <a:prstDash val="solid"/>
      </a:ln>
      <a:ln w="17145" cap="flat" cmpd="sng" algn="ctr">
        <a:solidFill>
          <a:schemeClr val="phClr">
            <a:shade val="95000"/>
            <a:alpha val="50000"/>
            <a:satMod val="150000"/>
          </a:schemeClr>
        </a:solidFill>
        <a:prstDash val="solid"/>
      </a:ln>
    </a:lnStyleLst>
    <a:effectStyleLst>
      <a:effectStyle>
        <a:effectLst/>
      </a:effectStyle>
      <a:effectStyle>
        <a:effectLst/>
      </a:effectStyle>
      <a:effectStyle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prstMaterial="flat">
          <a:bevelT w="19050" h="31750" prst="coolSlant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Microsoft Ignite">
    <a:dk1>
      <a:srgbClr val="1A1A1A"/>
    </a:dk1>
    <a:lt1>
      <a:srgbClr val="FFFFFF"/>
    </a:lt1>
    <a:dk2>
      <a:srgbClr val="0D0D0D"/>
    </a:dk2>
    <a:lt2>
      <a:srgbClr val="E6E6E6"/>
    </a:lt2>
    <a:accent1>
      <a:srgbClr val="0078D4"/>
    </a:accent1>
    <a:accent2>
      <a:srgbClr val="002050"/>
    </a:accent2>
    <a:accent3>
      <a:srgbClr val="D83B01"/>
    </a:accent3>
    <a:accent4>
      <a:srgbClr val="F37521"/>
    </a:accent4>
    <a:accent5>
      <a:srgbClr val="737373"/>
    </a:accent5>
    <a:accent6>
      <a:srgbClr val="D2D2D2"/>
    </a:accent6>
    <a:hlink>
      <a:srgbClr val="0078D4"/>
    </a:hlink>
    <a:folHlink>
      <a:srgbClr val="0078D4"/>
    </a:folHlink>
  </a:clrScheme>
  <a:fontScheme name="Segoe UI Semibold - Segoe UI">
    <a:majorFont>
      <a:latin typeface="Segoe UI Semibold"/>
      <a:ea typeface=""/>
      <a:cs typeface=""/>
    </a:majorFont>
    <a:minorFont>
      <a:latin typeface="Segoe UI"/>
      <a:ea typeface=""/>
      <a:cs typeface=""/>
    </a:minorFont>
  </a:fontScheme>
  <a:fmtScheme name="Couture">
    <a:fillStyleLst>
      <a:solidFill>
        <a:schemeClr val="phClr"/>
      </a:solidFill>
      <a:solidFill>
        <a:schemeClr val="phClr">
          <a:tint val="65000"/>
        </a:schemeClr>
      </a:solidFill>
      <a:solidFill>
        <a:schemeClr val="phClr">
          <a:shade val="80000"/>
          <a:satMod val="180000"/>
        </a:schemeClr>
      </a:solidFill>
    </a:fillStyleLst>
    <a:lnStyleLst>
      <a:ln w="9525" cap="flat" cmpd="sng" algn="ctr">
        <a:solidFill>
          <a:schemeClr val="phClr"/>
        </a:solidFill>
        <a:prstDash val="solid"/>
      </a:ln>
      <a:ln w="10795" cap="flat" cmpd="sng" algn="ctr">
        <a:solidFill>
          <a:schemeClr val="phClr"/>
        </a:solidFill>
        <a:prstDash val="solid"/>
      </a:ln>
      <a:ln w="17145" cap="flat" cmpd="sng" algn="ctr">
        <a:solidFill>
          <a:schemeClr val="phClr">
            <a:shade val="95000"/>
            <a:alpha val="50000"/>
            <a:satMod val="150000"/>
          </a:schemeClr>
        </a:solidFill>
        <a:prstDash val="solid"/>
      </a:ln>
    </a:lnStyleLst>
    <a:effectStyleLst>
      <a:effectStyle>
        <a:effectLst/>
      </a:effectStyle>
      <a:effectStyle>
        <a:effectLst/>
      </a:effectStyle>
      <a:effectStyle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prstMaterial="flat">
          <a:bevelT w="19050" h="31750" prst="coolSlant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EXUSG_Master</Template>
  <TotalTime>0</TotalTime>
  <Words>1346</Words>
  <Application>Microsoft Office PowerPoint</Application>
  <PresentationFormat>Breitbild</PresentationFormat>
  <Paragraphs>358</Paragraphs>
  <Slides>33</Slides>
  <Notes>3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2</vt:i4>
      </vt:variant>
      <vt:variant>
        <vt:lpstr>Folientitel</vt:lpstr>
      </vt:variant>
      <vt:variant>
        <vt:i4>33</vt:i4>
      </vt:variant>
    </vt:vector>
  </HeadingPairs>
  <TitlesOfParts>
    <vt:vector size="42" baseType="lpstr">
      <vt:lpstr>Arial</vt:lpstr>
      <vt:lpstr>Calibri</vt:lpstr>
      <vt:lpstr>Consolas</vt:lpstr>
      <vt:lpstr>Segoe UI</vt:lpstr>
      <vt:lpstr>Segoe UI Semibold</vt:lpstr>
      <vt:lpstr>Segoe UI Semilight</vt:lpstr>
      <vt:lpstr>Wingdings</vt:lpstr>
      <vt:lpstr>Office</vt:lpstr>
      <vt:lpstr>1_Office</vt:lpstr>
      <vt:lpstr>Exchange User Group Berlin</vt:lpstr>
      <vt:lpstr>Sponsor</vt:lpstr>
      <vt:lpstr>Agenda</vt:lpstr>
      <vt:lpstr>PowerPoint-Präsentation</vt:lpstr>
      <vt:lpstr>Exchange Server 2019 MetaCache Database und BigFunnel</vt:lpstr>
      <vt:lpstr>Ziele von BigFunnel</vt:lpstr>
      <vt:lpstr>Vorteile von BigFunnel</vt:lpstr>
      <vt:lpstr>Vorteile von BigFunnel</vt:lpstr>
      <vt:lpstr>Vorteile von BigFunnel</vt:lpstr>
      <vt:lpstr>BigFunnel</vt:lpstr>
      <vt:lpstr>BigFunnel</vt:lpstr>
      <vt:lpstr>Exchange Server 2019 MetaCache Database und BigFunnel</vt:lpstr>
      <vt:lpstr>MetaCache Database</vt:lpstr>
      <vt:lpstr>MetaCache Database</vt:lpstr>
      <vt:lpstr>MetaCache Database</vt:lpstr>
      <vt:lpstr>MetaCache Database</vt:lpstr>
      <vt:lpstr>MetaCacheDatabase</vt:lpstr>
      <vt:lpstr>MetaCache Database</vt:lpstr>
      <vt:lpstr>MetaCache Database</vt:lpstr>
      <vt:lpstr>MetaCache Database</vt:lpstr>
      <vt:lpstr>MetaCache Database </vt:lpstr>
      <vt:lpstr>Fragen</vt:lpstr>
      <vt:lpstr>Exchange Server 2019 Migration </vt:lpstr>
      <vt:lpstr>Anforderungen</vt:lpstr>
      <vt:lpstr>Anforderungen</vt:lpstr>
      <vt:lpstr>Exchange Server 2013 / 2016 </vt:lpstr>
      <vt:lpstr>Exchange Server 2019 Koexistenz</vt:lpstr>
      <vt:lpstr>MAPI over HTTP</vt:lpstr>
      <vt:lpstr>System-Postfächer</vt:lpstr>
      <vt:lpstr>Migration Modern Public Folder</vt:lpstr>
      <vt:lpstr>Fragen</vt:lpstr>
      <vt:lpstr>The REAL Exchange Experience</vt:lpstr>
      <vt:lpstr>Ressourcen</vt:lpstr>
    </vt:vector>
  </TitlesOfParts>
  <Manager>Thomas.Stensitzki@Granikos.eu</Manager>
  <Company>Granikos GmbH &amp; Co. KG</Company>
  <LinksUpToDate>false</LinksUpToDate>
  <SharedDoc>false</SharedDoc>
  <HyperlinkBase>https://www.granikos.eu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USG | MetaCacheDatabase und BigFunnel</dc:title>
  <dc:subject>Exchange User Group Berlin | UG Meeting 3. April 2019</dc:subject>
  <dc:creator>Thomas.Stensitzki@Granikos.eu</dc:creator>
  <cp:keywords>EXUSG</cp:keywords>
  <cp:lastModifiedBy>Thomas Stensitzki</cp:lastModifiedBy>
  <cp:revision>77</cp:revision>
  <dcterms:created xsi:type="dcterms:W3CDTF">2017-02-23T19:31:41Z</dcterms:created>
  <dcterms:modified xsi:type="dcterms:W3CDTF">2019-04-04T06:29:55Z</dcterms:modified>
  <cp:contentStatus>Final</cp:contentStatus>
</cp:coreProperties>
</file>